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1"/>
    <p:sldMasterId id="2147483892" r:id="rId2"/>
  </p:sldMasterIdLst>
  <p:notesMasterIdLst>
    <p:notesMasterId r:id="rId4"/>
  </p:notesMasterIdLst>
  <p:handoutMasterIdLst>
    <p:handoutMasterId r:id="rId5"/>
  </p:handoutMasterIdLst>
  <p:sldIdLst>
    <p:sldId id="766" r:id="rId3"/>
  </p:sldIdLst>
  <p:sldSz cx="12198350" cy="6858000"/>
  <p:notesSz cx="6794500" cy="9906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2" userDrawn="1">
          <p15:clr>
            <a:srgbClr val="A4A3A4"/>
          </p15:clr>
        </p15:guide>
        <p15:guide id="2" orient="horz" pos="2160">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FFFFFF"/>
    <a:srgbClr val="2E2E38"/>
    <a:srgbClr val="C4C4CD"/>
    <a:srgbClr val="747480"/>
    <a:srgbClr val="808080"/>
    <a:srgbClr val="000000"/>
    <a:srgbClr val="FF9A91"/>
    <a:srgbClr val="FF00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A00FE5-FAAA-4CBB-AF15-50478EC342BA}" v="2" dt="2022-09-14T07:20:06.7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6215" autoAdjust="0"/>
  </p:normalViewPr>
  <p:slideViewPr>
    <p:cSldViewPr snapToObjects="1" showGuides="1">
      <p:cViewPr varScale="1">
        <p:scale>
          <a:sx n="63" d="100"/>
          <a:sy n="63" d="100"/>
        </p:scale>
        <p:origin x="64" y="132"/>
      </p:cViewPr>
      <p:guideLst>
        <p:guide pos="3842"/>
        <p:guide orient="horz" pos="2160"/>
      </p:guideLst>
    </p:cSldViewPr>
  </p:slideViewPr>
  <p:outlineViewPr>
    <p:cViewPr>
      <p:scale>
        <a:sx n="33" d="100"/>
        <a:sy n="33" d="100"/>
      </p:scale>
      <p:origin x="0" y="-7090"/>
    </p:cViewPr>
  </p:outlineViewPr>
  <p:notesTextViewPr>
    <p:cViewPr>
      <p:scale>
        <a:sx n="150" d="100"/>
        <a:sy n="150" d="100"/>
      </p:scale>
      <p:origin x="0" y="0"/>
    </p:cViewPr>
  </p:notesTextViewPr>
  <p:sorterViewPr>
    <p:cViewPr varScale="1">
      <p:scale>
        <a:sx n="1" d="1"/>
        <a:sy n="1" d="1"/>
      </p:scale>
      <p:origin x="0" y="0"/>
    </p:cViewPr>
  </p:sorterViewPr>
  <p:notesViewPr>
    <p:cSldViewPr snapToObjects="1" showGuides="1">
      <p:cViewPr varScale="1">
        <p:scale>
          <a:sx n="82" d="100"/>
          <a:sy n="82" d="100"/>
        </p:scale>
        <p:origin x="3852" y="102"/>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14/09/2022</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Nr.›</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14/09/2022</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Nr.›</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fontAlgn="auto">
              <a:spcBef>
                <a:spcPts val="0"/>
              </a:spcBef>
              <a:spcAft>
                <a:spcPts val="0"/>
              </a:spcAft>
              <a:defRPr/>
            </a:pPr>
            <a:endParaRPr lang="en-US" dirty="0"/>
          </a:p>
        </p:txBody>
      </p:sp>
      <p:sp>
        <p:nvSpPr>
          <p:cNvPr id="201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pPr>
            <a:fld id="{DA170AD9-E6E7-4F1A-B5C9-885B4AD2C36B}" type="slidenum">
              <a:rPr lang="en-GB" altLang="en-US">
                <a:solidFill>
                  <a:prstClr val="black"/>
                </a:solidFill>
              </a:rPr>
              <a:pPr fontAlgn="base">
                <a:spcBef>
                  <a:spcPct val="0"/>
                </a:spcBef>
                <a:spcAft>
                  <a:spcPct val="0"/>
                </a:spcAft>
              </a:pPr>
              <a:t>1</a:t>
            </a:fld>
            <a:endParaRPr lang="en-GB" altLang="en-US">
              <a:solidFill>
                <a:prstClr val="black"/>
              </a:solidFill>
            </a:endParaRPr>
          </a:p>
        </p:txBody>
      </p:sp>
    </p:spTree>
    <p:extLst>
      <p:ext uri="{BB962C8B-B14F-4D97-AF65-F5344CB8AC3E}">
        <p14:creationId xmlns:p14="http://schemas.microsoft.com/office/powerpoint/2010/main" val="18899652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hyperlink" Target="http://brandingzone.ey.net/national/bzcontest.nsf/controldocview/BetterQuestions/$file/fullpage.html#firstPage" TargetMode="Externa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brandingzone.ey.net/national/bzcontest.nsf/controldocview/BetterQuestions/$file/fullpage.html#firstPage" TargetMode="External"/><Relationship Id="rId3" Type="http://schemas.openxmlformats.org/officeDocument/2006/relationships/tags" Target="../tags/tag3.xml"/><Relationship Id="rId7" Type="http://schemas.openxmlformats.org/officeDocument/2006/relationships/image" Target="../media/image2.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brandingzone.ey.net/national/bzcontest.nsf/controldocview/BetterQuestions/$file/fullpage.html#firstPage" TargetMode="Externa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hyperlink" Target="http://brandingzone.ey.net/national/bzcontest.nsf/controldocview/BetterQuestions/$file/fullpage.html#firstPage" TargetMode="Externa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brandingzone.ey.net/national/bzcontest.nsf/controldocview/BetterQuestions/$file/fullpage.html#firstPage" TargetMode="External"/><Relationship Id="rId3" Type="http://schemas.openxmlformats.org/officeDocument/2006/relationships/tags" Target="../tags/tag9.xml"/><Relationship Id="rId7" Type="http://schemas.openxmlformats.org/officeDocument/2006/relationships/image" Target="../media/image2.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hyperlink" Target="http://brandingzone.ey.net/national/bzcontest.nsf/controldocview/BetterQuestions/$file/fullpage.html#firstPage" TargetMode="Externa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8" name="Gruppieren 7"/>
          <p:cNvGrpSpPr/>
          <p:nvPr userDrawn="1"/>
        </p:nvGrpSpPr>
        <p:grpSpPr bwMode="invGray">
          <a:xfrm>
            <a:off x="9713775" y="440057"/>
            <a:ext cx="1868402" cy="962657"/>
            <a:chOff x="9731769" y="638177"/>
            <a:chExt cx="2017456" cy="1039454"/>
          </a:xfrm>
        </p:grpSpPr>
        <p:sp>
          <p:nvSpPr>
            <p:cNvPr id="9" name="Freeform 5">
              <a:extLst>
                <a:ext uri="{FF2B5EF4-FFF2-40B4-BE49-F238E27FC236}">
                  <a16:creationId xmlns:a16="http://schemas.microsoft.com/office/drawing/2014/main" id="{8A9BDB58-231B-4B70-8059-20CAA94E9F64}"/>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 name="Freeform 6">
              <a:extLst>
                <a:ext uri="{FF2B5EF4-FFF2-40B4-BE49-F238E27FC236}">
                  <a16:creationId xmlns:a16="http://schemas.microsoft.com/office/drawing/2014/main" id="{97DAE07B-DE87-4358-BA44-6531EF3573CD}"/>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 name="Freeform 7">
              <a:extLst>
                <a:ext uri="{FF2B5EF4-FFF2-40B4-BE49-F238E27FC236}">
                  <a16:creationId xmlns:a16="http://schemas.microsoft.com/office/drawing/2014/main" id="{39829C97-B9FD-4508-8651-C460629865A1}"/>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 name="Freeform 8">
              <a:extLst>
                <a:ext uri="{FF2B5EF4-FFF2-40B4-BE49-F238E27FC236}">
                  <a16:creationId xmlns:a16="http://schemas.microsoft.com/office/drawing/2014/main" id="{E6E8D961-2633-4DD4-9603-DC987B33CBF8}"/>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 name="Freeform 9">
              <a:extLst>
                <a:ext uri="{FF2B5EF4-FFF2-40B4-BE49-F238E27FC236}">
                  <a16:creationId xmlns:a16="http://schemas.microsoft.com/office/drawing/2014/main" id="{F4A1F26E-26EA-44D8-8D11-97229CEC2530}"/>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0">
              <a:extLst>
                <a:ext uri="{FF2B5EF4-FFF2-40B4-BE49-F238E27FC236}">
                  <a16:creationId xmlns:a16="http://schemas.microsoft.com/office/drawing/2014/main" id="{45C1803D-4651-4E80-B712-F3F311657C4D}"/>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11">
              <a:extLst>
                <a:ext uri="{FF2B5EF4-FFF2-40B4-BE49-F238E27FC236}">
                  <a16:creationId xmlns:a16="http://schemas.microsoft.com/office/drawing/2014/main" id="{711CC3A8-EDFC-4EAE-A2DC-ACDC3B1D9DEB}"/>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2">
              <a:extLst>
                <a:ext uri="{FF2B5EF4-FFF2-40B4-BE49-F238E27FC236}">
                  <a16:creationId xmlns:a16="http://schemas.microsoft.com/office/drawing/2014/main" id="{C17A032D-DB72-46B0-B4C8-EE8C8CC504F2}"/>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Freeform 13">
              <a:extLst>
                <a:ext uri="{FF2B5EF4-FFF2-40B4-BE49-F238E27FC236}">
                  <a16:creationId xmlns:a16="http://schemas.microsoft.com/office/drawing/2014/main" id="{2280FDE2-015D-4B7A-8900-05F5FB783060}"/>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14">
              <a:extLst>
                <a:ext uri="{FF2B5EF4-FFF2-40B4-BE49-F238E27FC236}">
                  <a16:creationId xmlns:a16="http://schemas.microsoft.com/office/drawing/2014/main" id="{D3D1BB3D-6AD6-4BE1-893D-EBCB285005E9}"/>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15">
              <a:extLst>
                <a:ext uri="{FF2B5EF4-FFF2-40B4-BE49-F238E27FC236}">
                  <a16:creationId xmlns:a16="http://schemas.microsoft.com/office/drawing/2014/main" id="{98B7DF92-85DC-454B-9A4B-F9A35E6A3C3A}"/>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16">
              <a:extLst>
                <a:ext uri="{FF2B5EF4-FFF2-40B4-BE49-F238E27FC236}">
                  <a16:creationId xmlns:a16="http://schemas.microsoft.com/office/drawing/2014/main" id="{42944BA6-F9C0-48FA-B96D-E1DF6E30FA74}"/>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AD76CDEE-75C6-43F6-B367-6EF14BC3B7FE}"/>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2" name="Freeform 18">
              <a:extLst>
                <a:ext uri="{FF2B5EF4-FFF2-40B4-BE49-F238E27FC236}">
                  <a16:creationId xmlns:a16="http://schemas.microsoft.com/office/drawing/2014/main" id="{DACB136F-C6ED-433D-9631-749BCDC77B78}"/>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19">
              <a:extLst>
                <a:ext uri="{FF2B5EF4-FFF2-40B4-BE49-F238E27FC236}">
                  <a16:creationId xmlns:a16="http://schemas.microsoft.com/office/drawing/2014/main" id="{922FADCD-4917-47C7-ADDB-1574B3C49CA8}"/>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4" name="Freeform 20">
              <a:extLst>
                <a:ext uri="{FF2B5EF4-FFF2-40B4-BE49-F238E27FC236}">
                  <a16:creationId xmlns:a16="http://schemas.microsoft.com/office/drawing/2014/main" id="{EEA96631-7CCE-49D6-A700-D76FF986E47F}"/>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5" name="Freeform 21">
              <a:extLst>
                <a:ext uri="{FF2B5EF4-FFF2-40B4-BE49-F238E27FC236}">
                  <a16:creationId xmlns:a16="http://schemas.microsoft.com/office/drawing/2014/main" id="{4BB24B6E-8D3D-449A-850B-52F8A8EF40A7}"/>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6" name="Freeform 22">
              <a:extLst>
                <a:ext uri="{FF2B5EF4-FFF2-40B4-BE49-F238E27FC236}">
                  <a16:creationId xmlns:a16="http://schemas.microsoft.com/office/drawing/2014/main" id="{767CA49F-CF78-4517-9D40-459A6165DB66}"/>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7" name="Freeform 23">
              <a:extLst>
                <a:ext uri="{FF2B5EF4-FFF2-40B4-BE49-F238E27FC236}">
                  <a16:creationId xmlns:a16="http://schemas.microsoft.com/office/drawing/2014/main" id="{BCE97B83-65DD-49DB-AC39-56BB28ACA966}"/>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8" name="Freeform 24">
              <a:extLst>
                <a:ext uri="{FF2B5EF4-FFF2-40B4-BE49-F238E27FC236}">
                  <a16:creationId xmlns:a16="http://schemas.microsoft.com/office/drawing/2014/main" id="{3A70ECD6-5CB1-4ABC-BD20-5CD3C4FFDF5E}"/>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Freeform 25">
              <a:extLst>
                <a:ext uri="{FF2B5EF4-FFF2-40B4-BE49-F238E27FC236}">
                  <a16:creationId xmlns:a16="http://schemas.microsoft.com/office/drawing/2014/main" id="{5A85C156-A249-4B2C-8A44-A8D8A3A0EEFE}"/>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Freeform 26">
              <a:extLst>
                <a:ext uri="{FF2B5EF4-FFF2-40B4-BE49-F238E27FC236}">
                  <a16:creationId xmlns:a16="http://schemas.microsoft.com/office/drawing/2014/main" id="{91225174-20DB-4A4F-A5BB-9A114EDC0F3E}"/>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27">
              <a:extLst>
                <a:ext uri="{FF2B5EF4-FFF2-40B4-BE49-F238E27FC236}">
                  <a16:creationId xmlns:a16="http://schemas.microsoft.com/office/drawing/2014/main" id="{43682DD6-D2ED-4863-B27B-40F3CBE0E381}"/>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2" name="Freeform 28">
              <a:extLst>
                <a:ext uri="{FF2B5EF4-FFF2-40B4-BE49-F238E27FC236}">
                  <a16:creationId xmlns:a16="http://schemas.microsoft.com/office/drawing/2014/main" id="{3D572001-B851-4D74-9AAD-13EE61D916F6}"/>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Freeform 29">
              <a:extLst>
                <a:ext uri="{FF2B5EF4-FFF2-40B4-BE49-F238E27FC236}">
                  <a16:creationId xmlns:a16="http://schemas.microsoft.com/office/drawing/2014/main" id="{A827519A-33F0-4CCB-AE07-C95A795FF2FB}"/>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4" name="Freeform 30">
              <a:extLst>
                <a:ext uri="{FF2B5EF4-FFF2-40B4-BE49-F238E27FC236}">
                  <a16:creationId xmlns:a16="http://schemas.microsoft.com/office/drawing/2014/main" id="{4BC09A9F-8959-48BA-9B94-7840D333316F}"/>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5" name="Freeform 31">
              <a:extLst>
                <a:ext uri="{FF2B5EF4-FFF2-40B4-BE49-F238E27FC236}">
                  <a16:creationId xmlns:a16="http://schemas.microsoft.com/office/drawing/2014/main" id="{125CF3D1-4644-4A4C-A605-6CBB28099392}"/>
                </a:ext>
              </a:extLst>
            </p:cNvPr>
            <p:cNvSpPr>
              <a:spLocks/>
            </p:cNvSpPr>
            <p:nvPr/>
          </p:nvSpPr>
          <p:spPr bwMode="invGray">
            <a:xfrm>
              <a:off x="11214461" y="970279"/>
              <a:ext cx="83679" cy="112444"/>
            </a:xfrm>
            <a:custGeom>
              <a:avLst/>
              <a:gdLst>
                <a:gd name="T0" fmla="*/ 123 w 123"/>
                <a:gd name="T1" fmla="*/ 94 h 165"/>
                <a:gd name="T2" fmla="*/ 107 w 123"/>
                <a:gd name="T3" fmla="*/ 147 h 165"/>
                <a:gd name="T4" fmla="*/ 62 w 123"/>
                <a:gd name="T5" fmla="*/ 165 h 165"/>
                <a:gd name="T6" fmla="*/ 39 w 123"/>
                <a:gd name="T7" fmla="*/ 161 h 165"/>
                <a:gd name="T8" fmla="*/ 22 w 123"/>
                <a:gd name="T9" fmla="*/ 151 h 165"/>
                <a:gd name="T10" fmla="*/ 8 w 123"/>
                <a:gd name="T11" fmla="*/ 136 h 165"/>
                <a:gd name="T12" fmla="*/ 0 w 123"/>
                <a:gd name="T13" fmla="*/ 117 h 165"/>
                <a:gd name="T14" fmla="*/ 31 w 123"/>
                <a:gd name="T15" fmla="*/ 108 h 165"/>
                <a:gd name="T16" fmla="*/ 36 w 123"/>
                <a:gd name="T17" fmla="*/ 119 h 165"/>
                <a:gd name="T18" fmla="*/ 43 w 123"/>
                <a:gd name="T19" fmla="*/ 126 h 165"/>
                <a:gd name="T20" fmla="*/ 51 w 123"/>
                <a:gd name="T21" fmla="*/ 131 h 165"/>
                <a:gd name="T22" fmla="*/ 62 w 123"/>
                <a:gd name="T23" fmla="*/ 132 h 165"/>
                <a:gd name="T24" fmla="*/ 75 w 123"/>
                <a:gd name="T25" fmla="*/ 130 h 165"/>
                <a:gd name="T26" fmla="*/ 84 w 123"/>
                <a:gd name="T27" fmla="*/ 123 h 165"/>
                <a:gd name="T28" fmla="*/ 89 w 123"/>
                <a:gd name="T29" fmla="*/ 111 h 165"/>
                <a:gd name="T30" fmla="*/ 91 w 123"/>
                <a:gd name="T31" fmla="*/ 95 h 165"/>
                <a:gd name="T32" fmla="*/ 91 w 123"/>
                <a:gd name="T33" fmla="*/ 0 h 165"/>
                <a:gd name="T34" fmla="*/ 123 w 123"/>
                <a:gd name="T35" fmla="*/ 0 h 165"/>
                <a:gd name="T36" fmla="*/ 123 w 123"/>
                <a:gd name="T37" fmla="*/ 9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65">
                  <a:moveTo>
                    <a:pt x="123" y="94"/>
                  </a:moveTo>
                  <a:cubicBezTo>
                    <a:pt x="123" y="117"/>
                    <a:pt x="118" y="135"/>
                    <a:pt x="107" y="147"/>
                  </a:cubicBezTo>
                  <a:cubicBezTo>
                    <a:pt x="97" y="159"/>
                    <a:pt x="81" y="165"/>
                    <a:pt x="62" y="165"/>
                  </a:cubicBezTo>
                  <a:cubicBezTo>
                    <a:pt x="54" y="165"/>
                    <a:pt x="46" y="163"/>
                    <a:pt x="39" y="161"/>
                  </a:cubicBezTo>
                  <a:cubicBezTo>
                    <a:pt x="33" y="159"/>
                    <a:pt x="27" y="155"/>
                    <a:pt x="22" y="151"/>
                  </a:cubicBezTo>
                  <a:cubicBezTo>
                    <a:pt x="16" y="147"/>
                    <a:pt x="12" y="142"/>
                    <a:pt x="8" y="136"/>
                  </a:cubicBezTo>
                  <a:cubicBezTo>
                    <a:pt x="4" y="130"/>
                    <a:pt x="2" y="124"/>
                    <a:pt x="0" y="117"/>
                  </a:cubicBezTo>
                  <a:cubicBezTo>
                    <a:pt x="31" y="108"/>
                    <a:pt x="31" y="108"/>
                    <a:pt x="31" y="108"/>
                  </a:cubicBezTo>
                  <a:cubicBezTo>
                    <a:pt x="33" y="113"/>
                    <a:pt x="35" y="116"/>
                    <a:pt x="36" y="119"/>
                  </a:cubicBezTo>
                  <a:cubicBezTo>
                    <a:pt x="38" y="122"/>
                    <a:pt x="40" y="124"/>
                    <a:pt x="43" y="126"/>
                  </a:cubicBezTo>
                  <a:cubicBezTo>
                    <a:pt x="45" y="128"/>
                    <a:pt x="48" y="130"/>
                    <a:pt x="51" y="131"/>
                  </a:cubicBezTo>
                  <a:cubicBezTo>
                    <a:pt x="54" y="132"/>
                    <a:pt x="58" y="132"/>
                    <a:pt x="62" y="132"/>
                  </a:cubicBezTo>
                  <a:cubicBezTo>
                    <a:pt x="67" y="132"/>
                    <a:pt x="71" y="131"/>
                    <a:pt x="75" y="130"/>
                  </a:cubicBezTo>
                  <a:cubicBezTo>
                    <a:pt x="78" y="128"/>
                    <a:pt x="81" y="126"/>
                    <a:pt x="84" y="123"/>
                  </a:cubicBezTo>
                  <a:cubicBezTo>
                    <a:pt x="86" y="119"/>
                    <a:pt x="88" y="115"/>
                    <a:pt x="89" y="111"/>
                  </a:cubicBezTo>
                  <a:cubicBezTo>
                    <a:pt x="90" y="106"/>
                    <a:pt x="91" y="101"/>
                    <a:pt x="91" y="95"/>
                  </a:cubicBezTo>
                  <a:cubicBezTo>
                    <a:pt x="91" y="0"/>
                    <a:pt x="91" y="0"/>
                    <a:pt x="91" y="0"/>
                  </a:cubicBezTo>
                  <a:cubicBezTo>
                    <a:pt x="123" y="0"/>
                    <a:pt x="123" y="0"/>
                    <a:pt x="123" y="0"/>
                  </a:cubicBezTo>
                  <a:lnTo>
                    <a:pt x="123" y="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32">
              <a:extLst>
                <a:ext uri="{FF2B5EF4-FFF2-40B4-BE49-F238E27FC236}">
                  <a16:creationId xmlns:a16="http://schemas.microsoft.com/office/drawing/2014/main" id="{5C66EC1B-AD1B-491B-A19A-A2C96C78BC6A}"/>
                </a:ext>
              </a:extLst>
            </p:cNvPr>
            <p:cNvSpPr>
              <a:spLocks noEditPoints="1"/>
            </p:cNvSpPr>
            <p:nvPr/>
          </p:nvSpPr>
          <p:spPr bwMode="invGray">
            <a:xfrm>
              <a:off x="11312522" y="970279"/>
              <a:ext cx="105907" cy="111137"/>
            </a:xfrm>
            <a:custGeom>
              <a:avLst/>
              <a:gdLst>
                <a:gd name="T0" fmla="*/ 81 w 81"/>
                <a:gd name="T1" fmla="*/ 85 h 85"/>
                <a:gd name="T2" fmla="*/ 63 w 81"/>
                <a:gd name="T3" fmla="*/ 85 h 85"/>
                <a:gd name="T4" fmla="*/ 56 w 81"/>
                <a:gd name="T5" fmla="*/ 66 h 85"/>
                <a:gd name="T6" fmla="*/ 24 w 81"/>
                <a:gd name="T7" fmla="*/ 66 h 85"/>
                <a:gd name="T8" fmla="*/ 18 w 81"/>
                <a:gd name="T9" fmla="*/ 85 h 85"/>
                <a:gd name="T10" fmla="*/ 0 w 81"/>
                <a:gd name="T11" fmla="*/ 85 h 85"/>
                <a:gd name="T12" fmla="*/ 32 w 81"/>
                <a:gd name="T13" fmla="*/ 0 h 85"/>
                <a:gd name="T14" fmla="*/ 49 w 81"/>
                <a:gd name="T15" fmla="*/ 0 h 85"/>
                <a:gd name="T16" fmla="*/ 81 w 81"/>
                <a:gd name="T17" fmla="*/ 85 h 85"/>
                <a:gd name="T18" fmla="*/ 50 w 81"/>
                <a:gd name="T19" fmla="*/ 50 h 85"/>
                <a:gd name="T20" fmla="*/ 40 w 81"/>
                <a:gd name="T21" fmla="*/ 22 h 85"/>
                <a:gd name="T22" fmla="*/ 31 w 81"/>
                <a:gd name="T23" fmla="*/ 50 h 85"/>
                <a:gd name="T24" fmla="*/ 50 w 81"/>
                <a:gd name="T25"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5">
                  <a:moveTo>
                    <a:pt x="81" y="85"/>
                  </a:moveTo>
                  <a:lnTo>
                    <a:pt x="63" y="85"/>
                  </a:lnTo>
                  <a:lnTo>
                    <a:pt x="56" y="66"/>
                  </a:lnTo>
                  <a:lnTo>
                    <a:pt x="24" y="66"/>
                  </a:lnTo>
                  <a:lnTo>
                    <a:pt x="18" y="85"/>
                  </a:lnTo>
                  <a:lnTo>
                    <a:pt x="0" y="85"/>
                  </a:lnTo>
                  <a:lnTo>
                    <a:pt x="32" y="0"/>
                  </a:lnTo>
                  <a:lnTo>
                    <a:pt x="49" y="0"/>
                  </a:lnTo>
                  <a:lnTo>
                    <a:pt x="81" y="85"/>
                  </a:lnTo>
                  <a:close/>
                  <a:moveTo>
                    <a:pt x="50" y="50"/>
                  </a:moveTo>
                  <a:lnTo>
                    <a:pt x="40" y="22"/>
                  </a:lnTo>
                  <a:lnTo>
                    <a:pt x="31" y="50"/>
                  </a:lnTo>
                  <a:lnTo>
                    <a:pt x="50"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33">
              <a:extLst>
                <a:ext uri="{FF2B5EF4-FFF2-40B4-BE49-F238E27FC236}">
                  <a16:creationId xmlns:a16="http://schemas.microsoft.com/office/drawing/2014/main" id="{DE0C7275-54C1-4C0E-A900-3BA9CF18FC7F}"/>
                </a:ext>
              </a:extLst>
            </p:cNvPr>
            <p:cNvSpPr>
              <a:spLocks/>
            </p:cNvSpPr>
            <p:nvPr/>
          </p:nvSpPr>
          <p:spPr bwMode="invGray">
            <a:xfrm>
              <a:off x="11439349" y="970279"/>
              <a:ext cx="88909" cy="111137"/>
            </a:xfrm>
            <a:custGeom>
              <a:avLst/>
              <a:gdLst>
                <a:gd name="T0" fmla="*/ 51 w 68"/>
                <a:gd name="T1" fmla="*/ 85 h 85"/>
                <a:gd name="T2" fmla="*/ 51 w 68"/>
                <a:gd name="T3" fmla="*/ 49 h 85"/>
                <a:gd name="T4" fmla="*/ 17 w 68"/>
                <a:gd name="T5" fmla="*/ 49 h 85"/>
                <a:gd name="T6" fmla="*/ 17 w 68"/>
                <a:gd name="T7" fmla="*/ 85 h 85"/>
                <a:gd name="T8" fmla="*/ 0 w 68"/>
                <a:gd name="T9" fmla="*/ 85 h 85"/>
                <a:gd name="T10" fmla="*/ 0 w 68"/>
                <a:gd name="T11" fmla="*/ 0 h 85"/>
                <a:gd name="T12" fmla="*/ 17 w 68"/>
                <a:gd name="T13" fmla="*/ 0 h 85"/>
                <a:gd name="T14" fmla="*/ 17 w 68"/>
                <a:gd name="T15" fmla="*/ 33 h 85"/>
                <a:gd name="T16" fmla="*/ 51 w 68"/>
                <a:gd name="T17" fmla="*/ 33 h 85"/>
                <a:gd name="T18" fmla="*/ 51 w 68"/>
                <a:gd name="T19" fmla="*/ 0 h 85"/>
                <a:gd name="T20" fmla="*/ 68 w 68"/>
                <a:gd name="T21" fmla="*/ 0 h 85"/>
                <a:gd name="T22" fmla="*/ 68 w 68"/>
                <a:gd name="T23" fmla="*/ 85 h 85"/>
                <a:gd name="T24" fmla="*/ 51 w 68"/>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5">
                  <a:moveTo>
                    <a:pt x="51" y="85"/>
                  </a:moveTo>
                  <a:lnTo>
                    <a:pt x="51" y="49"/>
                  </a:lnTo>
                  <a:lnTo>
                    <a:pt x="17" y="49"/>
                  </a:lnTo>
                  <a:lnTo>
                    <a:pt x="17" y="85"/>
                  </a:lnTo>
                  <a:lnTo>
                    <a:pt x="0" y="85"/>
                  </a:lnTo>
                  <a:lnTo>
                    <a:pt x="0" y="0"/>
                  </a:lnTo>
                  <a:lnTo>
                    <a:pt x="17" y="0"/>
                  </a:lnTo>
                  <a:lnTo>
                    <a:pt x="17" y="33"/>
                  </a:lnTo>
                  <a:lnTo>
                    <a:pt x="51" y="33"/>
                  </a:lnTo>
                  <a:lnTo>
                    <a:pt x="51" y="0"/>
                  </a:lnTo>
                  <a:lnTo>
                    <a:pt x="68" y="0"/>
                  </a:lnTo>
                  <a:lnTo>
                    <a:pt x="68" y="85"/>
                  </a:lnTo>
                  <a:lnTo>
                    <a:pt x="5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8" name="Freeform 34">
              <a:extLst>
                <a:ext uri="{FF2B5EF4-FFF2-40B4-BE49-F238E27FC236}">
                  <a16:creationId xmlns:a16="http://schemas.microsoft.com/office/drawing/2014/main" id="{0A332B72-1C98-486F-B1D7-FD53CDB0B0EC}"/>
                </a:ext>
              </a:extLst>
            </p:cNvPr>
            <p:cNvSpPr>
              <a:spLocks noEditPoints="1"/>
            </p:cNvSpPr>
            <p:nvPr/>
          </p:nvSpPr>
          <p:spPr bwMode="invGray">
            <a:xfrm>
              <a:off x="11557023" y="970279"/>
              <a:ext cx="90217" cy="111137"/>
            </a:xfrm>
            <a:custGeom>
              <a:avLst/>
              <a:gdLst>
                <a:gd name="T0" fmla="*/ 94 w 131"/>
                <a:gd name="T1" fmla="*/ 162 h 162"/>
                <a:gd name="T2" fmla="*/ 65 w 131"/>
                <a:gd name="T3" fmla="*/ 104 h 162"/>
                <a:gd name="T4" fmla="*/ 32 w 131"/>
                <a:gd name="T5" fmla="*/ 104 h 162"/>
                <a:gd name="T6" fmla="*/ 32 w 131"/>
                <a:gd name="T7" fmla="*/ 162 h 162"/>
                <a:gd name="T8" fmla="*/ 0 w 131"/>
                <a:gd name="T9" fmla="*/ 162 h 162"/>
                <a:gd name="T10" fmla="*/ 0 w 131"/>
                <a:gd name="T11" fmla="*/ 0 h 162"/>
                <a:gd name="T12" fmla="*/ 75 w 131"/>
                <a:gd name="T13" fmla="*/ 0 h 162"/>
                <a:gd name="T14" fmla="*/ 97 w 131"/>
                <a:gd name="T15" fmla="*/ 3 h 162"/>
                <a:gd name="T16" fmla="*/ 115 w 131"/>
                <a:gd name="T17" fmla="*/ 12 h 162"/>
                <a:gd name="T18" fmla="*/ 127 w 131"/>
                <a:gd name="T19" fmla="*/ 29 h 162"/>
                <a:gd name="T20" fmla="*/ 131 w 131"/>
                <a:gd name="T21" fmla="*/ 51 h 162"/>
                <a:gd name="T22" fmla="*/ 129 w 131"/>
                <a:gd name="T23" fmla="*/ 68 h 162"/>
                <a:gd name="T24" fmla="*/ 123 w 131"/>
                <a:gd name="T25" fmla="*/ 81 h 162"/>
                <a:gd name="T26" fmla="*/ 113 w 131"/>
                <a:gd name="T27" fmla="*/ 92 h 162"/>
                <a:gd name="T28" fmla="*/ 100 w 131"/>
                <a:gd name="T29" fmla="*/ 99 h 162"/>
                <a:gd name="T30" fmla="*/ 131 w 131"/>
                <a:gd name="T31" fmla="*/ 162 h 162"/>
                <a:gd name="T32" fmla="*/ 94 w 131"/>
                <a:gd name="T33" fmla="*/ 162 h 162"/>
                <a:gd name="T34" fmla="*/ 98 w 131"/>
                <a:gd name="T35" fmla="*/ 52 h 162"/>
                <a:gd name="T36" fmla="*/ 96 w 131"/>
                <a:gd name="T37" fmla="*/ 42 h 162"/>
                <a:gd name="T38" fmla="*/ 91 w 131"/>
                <a:gd name="T39" fmla="*/ 36 h 162"/>
                <a:gd name="T40" fmla="*/ 84 w 131"/>
                <a:gd name="T41" fmla="*/ 32 h 162"/>
                <a:gd name="T42" fmla="*/ 75 w 131"/>
                <a:gd name="T43" fmla="*/ 31 h 162"/>
                <a:gd name="T44" fmla="*/ 32 w 131"/>
                <a:gd name="T45" fmla="*/ 31 h 162"/>
                <a:gd name="T46" fmla="*/ 32 w 131"/>
                <a:gd name="T47" fmla="*/ 73 h 162"/>
                <a:gd name="T48" fmla="*/ 75 w 131"/>
                <a:gd name="T49" fmla="*/ 73 h 162"/>
                <a:gd name="T50" fmla="*/ 85 w 131"/>
                <a:gd name="T51" fmla="*/ 72 h 162"/>
                <a:gd name="T52" fmla="*/ 92 w 131"/>
                <a:gd name="T53" fmla="*/ 67 h 162"/>
                <a:gd name="T54" fmla="*/ 96 w 131"/>
                <a:gd name="T55" fmla="*/ 61 h 162"/>
                <a:gd name="T56" fmla="*/ 98 w 131"/>
                <a:gd name="T57" fmla="*/ 5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 h="162">
                  <a:moveTo>
                    <a:pt x="94" y="162"/>
                  </a:moveTo>
                  <a:cubicBezTo>
                    <a:pt x="65" y="104"/>
                    <a:pt x="65" y="104"/>
                    <a:pt x="65" y="104"/>
                  </a:cubicBezTo>
                  <a:cubicBezTo>
                    <a:pt x="32" y="104"/>
                    <a:pt x="32" y="104"/>
                    <a:pt x="32" y="104"/>
                  </a:cubicBezTo>
                  <a:cubicBezTo>
                    <a:pt x="32" y="162"/>
                    <a:pt x="32" y="162"/>
                    <a:pt x="32" y="162"/>
                  </a:cubicBezTo>
                  <a:cubicBezTo>
                    <a:pt x="0" y="162"/>
                    <a:pt x="0" y="162"/>
                    <a:pt x="0" y="162"/>
                  </a:cubicBezTo>
                  <a:cubicBezTo>
                    <a:pt x="0" y="0"/>
                    <a:pt x="0" y="0"/>
                    <a:pt x="0" y="0"/>
                  </a:cubicBezTo>
                  <a:cubicBezTo>
                    <a:pt x="75" y="0"/>
                    <a:pt x="75" y="0"/>
                    <a:pt x="75" y="0"/>
                  </a:cubicBezTo>
                  <a:cubicBezTo>
                    <a:pt x="83" y="0"/>
                    <a:pt x="90" y="1"/>
                    <a:pt x="97" y="3"/>
                  </a:cubicBezTo>
                  <a:cubicBezTo>
                    <a:pt x="104" y="5"/>
                    <a:pt x="110" y="8"/>
                    <a:pt x="115" y="12"/>
                  </a:cubicBezTo>
                  <a:cubicBezTo>
                    <a:pt x="120" y="17"/>
                    <a:pt x="124" y="22"/>
                    <a:pt x="127" y="29"/>
                  </a:cubicBezTo>
                  <a:cubicBezTo>
                    <a:pt x="130" y="35"/>
                    <a:pt x="131" y="42"/>
                    <a:pt x="131" y="51"/>
                  </a:cubicBezTo>
                  <a:cubicBezTo>
                    <a:pt x="131" y="58"/>
                    <a:pt x="130" y="63"/>
                    <a:pt x="129" y="68"/>
                  </a:cubicBezTo>
                  <a:cubicBezTo>
                    <a:pt x="128" y="73"/>
                    <a:pt x="126" y="78"/>
                    <a:pt x="123" y="81"/>
                  </a:cubicBezTo>
                  <a:cubicBezTo>
                    <a:pt x="120" y="85"/>
                    <a:pt x="117" y="89"/>
                    <a:pt x="113" y="92"/>
                  </a:cubicBezTo>
                  <a:cubicBezTo>
                    <a:pt x="110" y="94"/>
                    <a:pt x="105" y="97"/>
                    <a:pt x="100" y="99"/>
                  </a:cubicBezTo>
                  <a:cubicBezTo>
                    <a:pt x="131" y="162"/>
                    <a:pt x="131" y="162"/>
                    <a:pt x="131" y="162"/>
                  </a:cubicBezTo>
                  <a:lnTo>
                    <a:pt x="94" y="162"/>
                  </a:lnTo>
                  <a:close/>
                  <a:moveTo>
                    <a:pt x="98" y="52"/>
                  </a:moveTo>
                  <a:cubicBezTo>
                    <a:pt x="98" y="48"/>
                    <a:pt x="97" y="45"/>
                    <a:pt x="96" y="42"/>
                  </a:cubicBezTo>
                  <a:cubicBezTo>
                    <a:pt x="95" y="39"/>
                    <a:pt x="93" y="37"/>
                    <a:pt x="91" y="36"/>
                  </a:cubicBezTo>
                  <a:cubicBezTo>
                    <a:pt x="89" y="34"/>
                    <a:pt x="86" y="33"/>
                    <a:pt x="84" y="32"/>
                  </a:cubicBezTo>
                  <a:cubicBezTo>
                    <a:pt x="81" y="32"/>
                    <a:pt x="78" y="31"/>
                    <a:pt x="75" y="31"/>
                  </a:cubicBezTo>
                  <a:cubicBezTo>
                    <a:pt x="32" y="31"/>
                    <a:pt x="32" y="31"/>
                    <a:pt x="32" y="31"/>
                  </a:cubicBezTo>
                  <a:cubicBezTo>
                    <a:pt x="32" y="73"/>
                    <a:pt x="32" y="73"/>
                    <a:pt x="32" y="73"/>
                  </a:cubicBezTo>
                  <a:cubicBezTo>
                    <a:pt x="75" y="73"/>
                    <a:pt x="75" y="73"/>
                    <a:pt x="75" y="73"/>
                  </a:cubicBezTo>
                  <a:cubicBezTo>
                    <a:pt x="79" y="73"/>
                    <a:pt x="82" y="72"/>
                    <a:pt x="85" y="72"/>
                  </a:cubicBezTo>
                  <a:cubicBezTo>
                    <a:pt x="88" y="71"/>
                    <a:pt x="90" y="69"/>
                    <a:pt x="92" y="67"/>
                  </a:cubicBezTo>
                  <a:cubicBezTo>
                    <a:pt x="94" y="66"/>
                    <a:pt x="95" y="64"/>
                    <a:pt x="96" y="61"/>
                  </a:cubicBezTo>
                  <a:cubicBezTo>
                    <a:pt x="97" y="58"/>
                    <a:pt x="98" y="55"/>
                    <a:pt x="98" y="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Freeform 35">
              <a:extLst>
                <a:ext uri="{FF2B5EF4-FFF2-40B4-BE49-F238E27FC236}">
                  <a16:creationId xmlns:a16="http://schemas.microsoft.com/office/drawing/2014/main" id="{B3BCF9E1-0026-4389-B268-FEF82FAE2561}"/>
                </a:ext>
              </a:extLst>
            </p:cNvPr>
            <p:cNvSpPr>
              <a:spLocks/>
            </p:cNvSpPr>
            <p:nvPr/>
          </p:nvSpPr>
          <p:spPr bwMode="invGray">
            <a:xfrm>
              <a:off x="11669468" y="970279"/>
              <a:ext cx="79757" cy="111137"/>
            </a:xfrm>
            <a:custGeom>
              <a:avLst/>
              <a:gdLst>
                <a:gd name="T0" fmla="*/ 61 w 61"/>
                <a:gd name="T1" fmla="*/ 85 h 85"/>
                <a:gd name="T2" fmla="*/ 0 w 61"/>
                <a:gd name="T3" fmla="*/ 85 h 85"/>
                <a:gd name="T4" fmla="*/ 0 w 61"/>
                <a:gd name="T5" fmla="*/ 0 h 85"/>
                <a:gd name="T6" fmla="*/ 59 w 61"/>
                <a:gd name="T7" fmla="*/ 0 h 85"/>
                <a:gd name="T8" fmla="*/ 59 w 61"/>
                <a:gd name="T9" fmla="*/ 16 h 85"/>
                <a:gd name="T10" fmla="*/ 18 w 61"/>
                <a:gd name="T11" fmla="*/ 16 h 85"/>
                <a:gd name="T12" fmla="*/ 18 w 61"/>
                <a:gd name="T13" fmla="*/ 31 h 85"/>
                <a:gd name="T14" fmla="*/ 52 w 61"/>
                <a:gd name="T15" fmla="*/ 31 h 85"/>
                <a:gd name="T16" fmla="*/ 52 w 61"/>
                <a:gd name="T17" fmla="*/ 48 h 85"/>
                <a:gd name="T18" fmla="*/ 18 w 61"/>
                <a:gd name="T19" fmla="*/ 48 h 85"/>
                <a:gd name="T20" fmla="*/ 18 w 61"/>
                <a:gd name="T21" fmla="*/ 68 h 85"/>
                <a:gd name="T22" fmla="*/ 61 w 61"/>
                <a:gd name="T23" fmla="*/ 68 h 85"/>
                <a:gd name="T24" fmla="*/ 61 w 61"/>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5">
                  <a:moveTo>
                    <a:pt x="61" y="85"/>
                  </a:moveTo>
                  <a:lnTo>
                    <a:pt x="0" y="85"/>
                  </a:lnTo>
                  <a:lnTo>
                    <a:pt x="0" y="0"/>
                  </a:lnTo>
                  <a:lnTo>
                    <a:pt x="59" y="0"/>
                  </a:lnTo>
                  <a:lnTo>
                    <a:pt x="59" y="16"/>
                  </a:lnTo>
                  <a:lnTo>
                    <a:pt x="18" y="16"/>
                  </a:lnTo>
                  <a:lnTo>
                    <a:pt x="18" y="31"/>
                  </a:lnTo>
                  <a:lnTo>
                    <a:pt x="52" y="31"/>
                  </a:lnTo>
                  <a:lnTo>
                    <a:pt x="52" y="48"/>
                  </a:lnTo>
                  <a:lnTo>
                    <a:pt x="18" y="48"/>
                  </a:lnTo>
                  <a:lnTo>
                    <a:pt x="18" y="68"/>
                  </a:lnTo>
                  <a:lnTo>
                    <a:pt x="61" y="68"/>
                  </a:lnTo>
                  <a:lnTo>
                    <a:pt x="6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0" name="Freeform 36">
              <a:extLst>
                <a:ext uri="{FF2B5EF4-FFF2-40B4-BE49-F238E27FC236}">
                  <a16:creationId xmlns:a16="http://schemas.microsoft.com/office/drawing/2014/main" id="{649F954E-57A5-4CCA-9CAB-F232FEBD5F36}"/>
                </a:ext>
              </a:extLst>
            </p:cNvPr>
            <p:cNvSpPr>
              <a:spLocks/>
            </p:cNvSpPr>
            <p:nvPr/>
          </p:nvSpPr>
          <p:spPr bwMode="invGray">
            <a:xfrm>
              <a:off x="9731769" y="1013426"/>
              <a:ext cx="261498" cy="366097"/>
            </a:xfrm>
            <a:custGeom>
              <a:avLst/>
              <a:gdLst>
                <a:gd name="T0" fmla="*/ 200 w 200"/>
                <a:gd name="T1" fmla="*/ 280 h 280"/>
                <a:gd name="T2" fmla="*/ 0 w 200"/>
                <a:gd name="T3" fmla="*/ 280 h 280"/>
                <a:gd name="T4" fmla="*/ 0 w 200"/>
                <a:gd name="T5" fmla="*/ 0 h 280"/>
                <a:gd name="T6" fmla="*/ 181 w 200"/>
                <a:gd name="T7" fmla="*/ 0 h 280"/>
                <a:gd name="T8" fmla="*/ 181 w 200"/>
                <a:gd name="T9" fmla="*/ 55 h 280"/>
                <a:gd name="T10" fmla="*/ 55 w 200"/>
                <a:gd name="T11" fmla="*/ 55 h 280"/>
                <a:gd name="T12" fmla="*/ 55 w 200"/>
                <a:gd name="T13" fmla="*/ 103 h 280"/>
                <a:gd name="T14" fmla="*/ 168 w 200"/>
                <a:gd name="T15" fmla="*/ 103 h 280"/>
                <a:gd name="T16" fmla="*/ 168 w 200"/>
                <a:gd name="T17" fmla="*/ 157 h 280"/>
                <a:gd name="T18" fmla="*/ 55 w 200"/>
                <a:gd name="T19" fmla="*/ 157 h 280"/>
                <a:gd name="T20" fmla="*/ 55 w 200"/>
                <a:gd name="T21" fmla="*/ 225 h 280"/>
                <a:gd name="T22" fmla="*/ 200 w 200"/>
                <a:gd name="T23" fmla="*/ 225 h 280"/>
                <a:gd name="T24" fmla="*/ 200 w 200"/>
                <a:gd name="T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80">
                  <a:moveTo>
                    <a:pt x="200" y="280"/>
                  </a:moveTo>
                  <a:lnTo>
                    <a:pt x="0" y="280"/>
                  </a:lnTo>
                  <a:lnTo>
                    <a:pt x="0" y="0"/>
                  </a:lnTo>
                  <a:lnTo>
                    <a:pt x="181" y="0"/>
                  </a:lnTo>
                  <a:lnTo>
                    <a:pt x="181" y="55"/>
                  </a:lnTo>
                  <a:lnTo>
                    <a:pt x="55" y="55"/>
                  </a:lnTo>
                  <a:lnTo>
                    <a:pt x="55" y="103"/>
                  </a:lnTo>
                  <a:lnTo>
                    <a:pt x="168" y="103"/>
                  </a:lnTo>
                  <a:lnTo>
                    <a:pt x="168" y="157"/>
                  </a:lnTo>
                  <a:lnTo>
                    <a:pt x="55" y="157"/>
                  </a:lnTo>
                  <a:lnTo>
                    <a:pt x="55" y="225"/>
                  </a:lnTo>
                  <a:lnTo>
                    <a:pt x="200" y="225"/>
                  </a:lnTo>
                  <a:lnTo>
                    <a:pt x="200" y="28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 name="Freeform 37">
              <a:extLst>
                <a:ext uri="{FF2B5EF4-FFF2-40B4-BE49-F238E27FC236}">
                  <a16:creationId xmlns:a16="http://schemas.microsoft.com/office/drawing/2014/main" id="{6DE56CC7-4BD4-440A-97FD-A8FAEC415494}"/>
                </a:ext>
              </a:extLst>
            </p:cNvPr>
            <p:cNvSpPr>
              <a:spLocks/>
            </p:cNvSpPr>
            <p:nvPr/>
          </p:nvSpPr>
          <p:spPr bwMode="invGray">
            <a:xfrm>
              <a:off x="9981497" y="1013426"/>
              <a:ext cx="334717" cy="366097"/>
            </a:xfrm>
            <a:custGeom>
              <a:avLst/>
              <a:gdLst>
                <a:gd name="T0" fmla="*/ 256 w 256"/>
                <a:gd name="T1" fmla="*/ 0 h 280"/>
                <a:gd name="T2" fmla="*/ 156 w 256"/>
                <a:gd name="T3" fmla="*/ 157 h 280"/>
                <a:gd name="T4" fmla="*/ 156 w 256"/>
                <a:gd name="T5" fmla="*/ 280 h 280"/>
                <a:gd name="T6" fmla="*/ 100 w 256"/>
                <a:gd name="T7" fmla="*/ 280 h 280"/>
                <a:gd name="T8" fmla="*/ 100 w 256"/>
                <a:gd name="T9" fmla="*/ 159 h 280"/>
                <a:gd name="T10" fmla="*/ 0 w 256"/>
                <a:gd name="T11" fmla="*/ 0 h 280"/>
                <a:gd name="T12" fmla="*/ 64 w 256"/>
                <a:gd name="T13" fmla="*/ 0 h 280"/>
                <a:gd name="T14" fmla="*/ 128 w 256"/>
                <a:gd name="T15" fmla="*/ 106 h 280"/>
                <a:gd name="T16" fmla="*/ 192 w 256"/>
                <a:gd name="T17" fmla="*/ 0 h 280"/>
                <a:gd name="T18" fmla="*/ 256 w 256"/>
                <a:gd name="T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80">
                  <a:moveTo>
                    <a:pt x="256" y="0"/>
                  </a:moveTo>
                  <a:lnTo>
                    <a:pt x="156" y="157"/>
                  </a:lnTo>
                  <a:lnTo>
                    <a:pt x="156" y="280"/>
                  </a:lnTo>
                  <a:lnTo>
                    <a:pt x="100" y="280"/>
                  </a:lnTo>
                  <a:lnTo>
                    <a:pt x="100" y="159"/>
                  </a:lnTo>
                  <a:lnTo>
                    <a:pt x="0" y="0"/>
                  </a:lnTo>
                  <a:lnTo>
                    <a:pt x="64" y="0"/>
                  </a:lnTo>
                  <a:lnTo>
                    <a:pt x="128" y="106"/>
                  </a:lnTo>
                  <a:lnTo>
                    <a:pt x="192"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2" name="Freeform 38">
              <a:extLst>
                <a:ext uri="{FF2B5EF4-FFF2-40B4-BE49-F238E27FC236}">
                  <a16:creationId xmlns:a16="http://schemas.microsoft.com/office/drawing/2014/main" id="{658A3BBD-2F70-448C-911B-74A58B3D4525}"/>
                </a:ext>
              </a:extLst>
            </p:cNvPr>
            <p:cNvSpPr>
              <a:spLocks noEditPoints="1"/>
            </p:cNvSpPr>
            <p:nvPr/>
          </p:nvSpPr>
          <p:spPr bwMode="invGray">
            <a:xfrm>
              <a:off x="10199846" y="638177"/>
              <a:ext cx="1435622" cy="1039454"/>
            </a:xfrm>
            <a:custGeom>
              <a:avLst/>
              <a:gdLst>
                <a:gd name="T0" fmla="*/ 0 w 2104"/>
                <a:gd name="T1" fmla="*/ 293 h 1521"/>
                <a:gd name="T2" fmla="*/ 243 w 2104"/>
                <a:gd name="T3" fmla="*/ 139 h 1521"/>
                <a:gd name="T4" fmla="*/ 243 w 2104"/>
                <a:gd name="T5" fmla="*/ 191 h 1521"/>
                <a:gd name="T6" fmla="*/ 176 w 2104"/>
                <a:gd name="T7" fmla="*/ 1056 h 1521"/>
                <a:gd name="T8" fmla="*/ 279 w 2104"/>
                <a:gd name="T9" fmla="*/ 25 h 1521"/>
                <a:gd name="T10" fmla="*/ 1557 w 2104"/>
                <a:gd name="T11" fmla="*/ 1144 h 1521"/>
                <a:gd name="T12" fmla="*/ 1557 w 2104"/>
                <a:gd name="T13" fmla="*/ 1108 h 1521"/>
                <a:gd name="T14" fmla="*/ 1557 w 2104"/>
                <a:gd name="T15" fmla="*/ 1072 h 1521"/>
                <a:gd name="T16" fmla="*/ 1557 w 2104"/>
                <a:gd name="T17" fmla="*/ 1035 h 1521"/>
                <a:gd name="T18" fmla="*/ 1557 w 2104"/>
                <a:gd name="T19" fmla="*/ 1000 h 1521"/>
                <a:gd name="T20" fmla="*/ 1186 w 2104"/>
                <a:gd name="T21" fmla="*/ 465 h 1521"/>
                <a:gd name="T22" fmla="*/ 1915 w 2104"/>
                <a:gd name="T23" fmla="*/ 372 h 1521"/>
                <a:gd name="T24" fmla="*/ 1099 w 2104"/>
                <a:gd name="T25" fmla="*/ 499 h 1521"/>
                <a:gd name="T26" fmla="*/ 1977 w 2104"/>
                <a:gd name="T27" fmla="*/ 426 h 1521"/>
                <a:gd name="T28" fmla="*/ 1089 w 2104"/>
                <a:gd name="T29" fmla="*/ 421 h 1521"/>
                <a:gd name="T30" fmla="*/ 1565 w 2104"/>
                <a:gd name="T31" fmla="*/ 60 h 1521"/>
                <a:gd name="T32" fmla="*/ 1565 w 2104"/>
                <a:gd name="T33" fmla="*/ 24 h 1521"/>
                <a:gd name="T34" fmla="*/ 556 w 2104"/>
                <a:gd name="T35" fmla="*/ 485 h 1521"/>
                <a:gd name="T36" fmla="*/ 468 w 2104"/>
                <a:gd name="T37" fmla="*/ 41 h 1521"/>
                <a:gd name="T38" fmla="*/ 388 w 2104"/>
                <a:gd name="T39" fmla="*/ 106 h 1521"/>
                <a:gd name="T40" fmla="*/ 351 w 2104"/>
                <a:gd name="T41" fmla="*/ 760 h 1521"/>
                <a:gd name="T42" fmla="*/ 316 w 2104"/>
                <a:gd name="T43" fmla="*/ 70 h 1521"/>
                <a:gd name="T44" fmla="*/ 434 w 2104"/>
                <a:gd name="T45" fmla="*/ 1086 h 1521"/>
                <a:gd name="T46" fmla="*/ 885 w 2104"/>
                <a:gd name="T47" fmla="*/ 487 h 1521"/>
                <a:gd name="T48" fmla="*/ 885 w 2104"/>
                <a:gd name="T49" fmla="*/ 523 h 1521"/>
                <a:gd name="T50" fmla="*/ 568 w 2104"/>
                <a:gd name="T51" fmla="*/ 1056 h 1521"/>
                <a:gd name="T52" fmla="*/ 885 w 2104"/>
                <a:gd name="T53" fmla="*/ 559 h 1521"/>
                <a:gd name="T54" fmla="*/ 1089 w 2104"/>
                <a:gd name="T55" fmla="*/ 534 h 1521"/>
                <a:gd name="T56" fmla="*/ 1299 w 2104"/>
                <a:gd name="T57" fmla="*/ 996 h 1521"/>
                <a:gd name="T58" fmla="*/ 672 w 2104"/>
                <a:gd name="T59" fmla="*/ 1250 h 1521"/>
                <a:gd name="T60" fmla="*/ 894 w 2104"/>
                <a:gd name="T61" fmla="*/ 1377 h 1521"/>
                <a:gd name="T62" fmla="*/ 895 w 2104"/>
                <a:gd name="T63" fmla="*/ 1413 h 1521"/>
                <a:gd name="T64" fmla="*/ 619 w 2104"/>
                <a:gd name="T65" fmla="*/ 1361 h 1521"/>
                <a:gd name="T66" fmla="*/ 1382 w 2104"/>
                <a:gd name="T67" fmla="*/ 1152 h 1521"/>
                <a:gd name="T68" fmla="*/ 509 w 2104"/>
                <a:gd name="T69" fmla="*/ 1325 h 1521"/>
                <a:gd name="T70" fmla="*/ 1416 w 2104"/>
                <a:gd name="T71" fmla="*/ 1162 h 1521"/>
                <a:gd name="T72" fmla="*/ 2062 w 2104"/>
                <a:gd name="T73" fmla="*/ 711 h 1521"/>
                <a:gd name="T74" fmla="*/ 386 w 2104"/>
                <a:gd name="T75" fmla="*/ 950 h 1521"/>
                <a:gd name="T76" fmla="*/ 351 w 2104"/>
                <a:gd name="T77" fmla="*/ 968 h 1521"/>
                <a:gd name="T78" fmla="*/ 885 w 2104"/>
                <a:gd name="T79" fmla="*/ 415 h 1521"/>
                <a:gd name="T80" fmla="*/ 1162 w 2104"/>
                <a:gd name="T81" fmla="*/ 535 h 1521"/>
                <a:gd name="T82" fmla="*/ 1420 w 2104"/>
                <a:gd name="T83" fmla="*/ 978 h 1521"/>
                <a:gd name="T84" fmla="*/ 1162 w 2104"/>
                <a:gd name="T85" fmla="*/ 535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4" h="1521">
                  <a:moveTo>
                    <a:pt x="268" y="12"/>
                  </a:moveTo>
                  <a:cubicBezTo>
                    <a:pt x="259" y="12"/>
                    <a:pt x="252" y="20"/>
                    <a:pt x="246" y="26"/>
                  </a:cubicBezTo>
                  <a:cubicBezTo>
                    <a:pt x="0" y="293"/>
                    <a:pt x="0" y="293"/>
                    <a:pt x="0" y="293"/>
                  </a:cubicBezTo>
                  <a:cubicBezTo>
                    <a:pt x="4" y="303"/>
                    <a:pt x="25" y="320"/>
                    <a:pt x="51" y="291"/>
                  </a:cubicBezTo>
                  <a:cubicBezTo>
                    <a:pt x="66" y="276"/>
                    <a:pt x="243" y="80"/>
                    <a:pt x="243" y="80"/>
                  </a:cubicBezTo>
                  <a:cubicBezTo>
                    <a:pt x="243" y="139"/>
                    <a:pt x="243" y="139"/>
                    <a:pt x="243" y="139"/>
                  </a:cubicBezTo>
                  <a:cubicBezTo>
                    <a:pt x="227" y="157"/>
                    <a:pt x="76" y="322"/>
                    <a:pt x="60" y="338"/>
                  </a:cubicBezTo>
                  <a:cubicBezTo>
                    <a:pt x="38" y="360"/>
                    <a:pt x="46" y="383"/>
                    <a:pt x="59" y="392"/>
                  </a:cubicBezTo>
                  <a:cubicBezTo>
                    <a:pt x="243" y="191"/>
                    <a:pt x="243" y="191"/>
                    <a:pt x="243" y="191"/>
                  </a:cubicBezTo>
                  <a:cubicBezTo>
                    <a:pt x="243" y="983"/>
                    <a:pt x="243" y="983"/>
                    <a:pt x="243" y="983"/>
                  </a:cubicBezTo>
                  <a:cubicBezTo>
                    <a:pt x="243" y="1029"/>
                    <a:pt x="228" y="1059"/>
                    <a:pt x="200" y="1059"/>
                  </a:cubicBezTo>
                  <a:cubicBezTo>
                    <a:pt x="187" y="1059"/>
                    <a:pt x="181" y="1057"/>
                    <a:pt x="176" y="1056"/>
                  </a:cubicBezTo>
                  <a:cubicBezTo>
                    <a:pt x="170" y="1070"/>
                    <a:pt x="180" y="1090"/>
                    <a:pt x="208" y="1090"/>
                  </a:cubicBezTo>
                  <a:cubicBezTo>
                    <a:pt x="268" y="1090"/>
                    <a:pt x="279" y="1027"/>
                    <a:pt x="279" y="983"/>
                  </a:cubicBezTo>
                  <a:cubicBezTo>
                    <a:pt x="279" y="25"/>
                    <a:pt x="279" y="25"/>
                    <a:pt x="279" y="25"/>
                  </a:cubicBezTo>
                  <a:cubicBezTo>
                    <a:pt x="279" y="18"/>
                    <a:pt x="275" y="12"/>
                    <a:pt x="268" y="12"/>
                  </a:cubicBezTo>
                  <a:close/>
                  <a:moveTo>
                    <a:pt x="2062" y="711"/>
                  </a:moveTo>
                  <a:cubicBezTo>
                    <a:pt x="2072" y="820"/>
                    <a:pt x="1941" y="1144"/>
                    <a:pt x="1557" y="1144"/>
                  </a:cubicBezTo>
                  <a:cubicBezTo>
                    <a:pt x="1472" y="1144"/>
                    <a:pt x="1403" y="1124"/>
                    <a:pt x="1361" y="1105"/>
                  </a:cubicBezTo>
                  <a:cubicBezTo>
                    <a:pt x="1364" y="1094"/>
                    <a:pt x="1367" y="1083"/>
                    <a:pt x="1370" y="1072"/>
                  </a:cubicBezTo>
                  <a:cubicBezTo>
                    <a:pt x="1423" y="1094"/>
                    <a:pt x="1482" y="1108"/>
                    <a:pt x="1557" y="1108"/>
                  </a:cubicBezTo>
                  <a:cubicBezTo>
                    <a:pt x="1871" y="1108"/>
                    <a:pt x="1988" y="879"/>
                    <a:pt x="2010" y="795"/>
                  </a:cubicBezTo>
                  <a:cubicBezTo>
                    <a:pt x="2025" y="742"/>
                    <a:pt x="2018" y="711"/>
                    <a:pt x="1981" y="711"/>
                  </a:cubicBezTo>
                  <a:cubicBezTo>
                    <a:pt x="1994" y="785"/>
                    <a:pt x="1899" y="1072"/>
                    <a:pt x="1557" y="1072"/>
                  </a:cubicBezTo>
                  <a:cubicBezTo>
                    <a:pt x="1490" y="1072"/>
                    <a:pt x="1431" y="1059"/>
                    <a:pt x="1377" y="1037"/>
                  </a:cubicBezTo>
                  <a:cubicBezTo>
                    <a:pt x="1379" y="1026"/>
                    <a:pt x="1380" y="1014"/>
                    <a:pt x="1382" y="1003"/>
                  </a:cubicBezTo>
                  <a:cubicBezTo>
                    <a:pt x="1420" y="1018"/>
                    <a:pt x="1479" y="1035"/>
                    <a:pt x="1557" y="1035"/>
                  </a:cubicBezTo>
                  <a:cubicBezTo>
                    <a:pt x="1794" y="1035"/>
                    <a:pt x="1908" y="877"/>
                    <a:pt x="1932" y="781"/>
                  </a:cubicBezTo>
                  <a:cubicBezTo>
                    <a:pt x="1943" y="739"/>
                    <a:pt x="1936" y="711"/>
                    <a:pt x="1902" y="711"/>
                  </a:cubicBezTo>
                  <a:cubicBezTo>
                    <a:pt x="1910" y="784"/>
                    <a:pt x="1826" y="1000"/>
                    <a:pt x="1557" y="1000"/>
                  </a:cubicBezTo>
                  <a:cubicBezTo>
                    <a:pt x="1519" y="1000"/>
                    <a:pt x="1484" y="995"/>
                    <a:pt x="1455" y="988"/>
                  </a:cubicBezTo>
                  <a:cubicBezTo>
                    <a:pt x="1456" y="975"/>
                    <a:pt x="1456" y="960"/>
                    <a:pt x="1456" y="950"/>
                  </a:cubicBezTo>
                  <a:cubicBezTo>
                    <a:pt x="1456" y="749"/>
                    <a:pt x="1351" y="567"/>
                    <a:pt x="1186" y="465"/>
                  </a:cubicBezTo>
                  <a:cubicBezTo>
                    <a:pt x="1249" y="318"/>
                    <a:pt x="1390" y="204"/>
                    <a:pt x="1565" y="204"/>
                  </a:cubicBezTo>
                  <a:cubicBezTo>
                    <a:pt x="1787" y="204"/>
                    <a:pt x="1886" y="374"/>
                    <a:pt x="1896" y="426"/>
                  </a:cubicBezTo>
                  <a:cubicBezTo>
                    <a:pt x="1919" y="426"/>
                    <a:pt x="1925" y="395"/>
                    <a:pt x="1915" y="372"/>
                  </a:cubicBezTo>
                  <a:cubicBezTo>
                    <a:pt x="1892" y="314"/>
                    <a:pt x="1782" y="169"/>
                    <a:pt x="1565" y="169"/>
                  </a:cubicBezTo>
                  <a:cubicBezTo>
                    <a:pt x="1348" y="169"/>
                    <a:pt x="1187" y="321"/>
                    <a:pt x="1131" y="516"/>
                  </a:cubicBezTo>
                  <a:cubicBezTo>
                    <a:pt x="1121" y="510"/>
                    <a:pt x="1110" y="504"/>
                    <a:pt x="1099" y="499"/>
                  </a:cubicBezTo>
                  <a:cubicBezTo>
                    <a:pt x="1107" y="476"/>
                    <a:pt x="1114" y="453"/>
                    <a:pt x="1122" y="434"/>
                  </a:cubicBezTo>
                  <a:cubicBezTo>
                    <a:pt x="1192" y="257"/>
                    <a:pt x="1361" y="132"/>
                    <a:pt x="1565" y="132"/>
                  </a:cubicBezTo>
                  <a:cubicBezTo>
                    <a:pt x="1836" y="132"/>
                    <a:pt x="1966" y="343"/>
                    <a:pt x="1977" y="426"/>
                  </a:cubicBezTo>
                  <a:cubicBezTo>
                    <a:pt x="1997" y="426"/>
                    <a:pt x="2012" y="403"/>
                    <a:pt x="2003" y="378"/>
                  </a:cubicBezTo>
                  <a:cubicBezTo>
                    <a:pt x="1975" y="301"/>
                    <a:pt x="1856" y="96"/>
                    <a:pt x="1565" y="96"/>
                  </a:cubicBezTo>
                  <a:cubicBezTo>
                    <a:pt x="1346" y="96"/>
                    <a:pt x="1164" y="231"/>
                    <a:pt x="1089" y="421"/>
                  </a:cubicBezTo>
                  <a:cubicBezTo>
                    <a:pt x="1082" y="437"/>
                    <a:pt x="1074" y="460"/>
                    <a:pt x="1066" y="485"/>
                  </a:cubicBezTo>
                  <a:cubicBezTo>
                    <a:pt x="1056" y="481"/>
                    <a:pt x="1046" y="477"/>
                    <a:pt x="1036" y="474"/>
                  </a:cubicBezTo>
                  <a:cubicBezTo>
                    <a:pt x="1086" y="263"/>
                    <a:pt x="1283" y="60"/>
                    <a:pt x="1565" y="60"/>
                  </a:cubicBezTo>
                  <a:cubicBezTo>
                    <a:pt x="1936" y="60"/>
                    <a:pt x="2057" y="372"/>
                    <a:pt x="2058" y="426"/>
                  </a:cubicBezTo>
                  <a:cubicBezTo>
                    <a:pt x="2084" y="426"/>
                    <a:pt x="2093" y="398"/>
                    <a:pt x="2085" y="372"/>
                  </a:cubicBezTo>
                  <a:cubicBezTo>
                    <a:pt x="2058" y="289"/>
                    <a:pt x="1922" y="24"/>
                    <a:pt x="1565" y="24"/>
                  </a:cubicBezTo>
                  <a:cubicBezTo>
                    <a:pt x="1298" y="24"/>
                    <a:pt x="1105" y="187"/>
                    <a:pt x="1024" y="396"/>
                  </a:cubicBezTo>
                  <a:cubicBezTo>
                    <a:pt x="979" y="385"/>
                    <a:pt x="932" y="379"/>
                    <a:pt x="885" y="379"/>
                  </a:cubicBezTo>
                  <a:cubicBezTo>
                    <a:pt x="766" y="379"/>
                    <a:pt x="653" y="416"/>
                    <a:pt x="556" y="485"/>
                  </a:cubicBezTo>
                  <a:cubicBezTo>
                    <a:pt x="505" y="522"/>
                    <a:pt x="460" y="566"/>
                    <a:pt x="424" y="616"/>
                  </a:cubicBezTo>
                  <a:cubicBezTo>
                    <a:pt x="424" y="106"/>
                    <a:pt x="424" y="106"/>
                    <a:pt x="424" y="106"/>
                  </a:cubicBezTo>
                  <a:cubicBezTo>
                    <a:pt x="424" y="60"/>
                    <a:pt x="439" y="41"/>
                    <a:pt x="468" y="41"/>
                  </a:cubicBezTo>
                  <a:cubicBezTo>
                    <a:pt x="480" y="41"/>
                    <a:pt x="486" y="43"/>
                    <a:pt x="491" y="44"/>
                  </a:cubicBezTo>
                  <a:cubicBezTo>
                    <a:pt x="497" y="30"/>
                    <a:pt x="487" y="10"/>
                    <a:pt x="459" y="10"/>
                  </a:cubicBezTo>
                  <a:cubicBezTo>
                    <a:pt x="399" y="10"/>
                    <a:pt x="388" y="62"/>
                    <a:pt x="388" y="106"/>
                  </a:cubicBezTo>
                  <a:cubicBezTo>
                    <a:pt x="388" y="106"/>
                    <a:pt x="388" y="518"/>
                    <a:pt x="388" y="672"/>
                  </a:cubicBezTo>
                  <a:cubicBezTo>
                    <a:pt x="388" y="673"/>
                    <a:pt x="387" y="674"/>
                    <a:pt x="387" y="675"/>
                  </a:cubicBezTo>
                  <a:cubicBezTo>
                    <a:pt x="377" y="692"/>
                    <a:pt x="362" y="729"/>
                    <a:pt x="351" y="760"/>
                  </a:cubicBezTo>
                  <a:cubicBezTo>
                    <a:pt x="351" y="84"/>
                    <a:pt x="351" y="84"/>
                    <a:pt x="351" y="84"/>
                  </a:cubicBezTo>
                  <a:cubicBezTo>
                    <a:pt x="351" y="41"/>
                    <a:pt x="361" y="26"/>
                    <a:pt x="369" y="19"/>
                  </a:cubicBezTo>
                  <a:cubicBezTo>
                    <a:pt x="365" y="5"/>
                    <a:pt x="316" y="0"/>
                    <a:pt x="316" y="70"/>
                  </a:cubicBezTo>
                  <a:cubicBezTo>
                    <a:pt x="316" y="103"/>
                    <a:pt x="316" y="984"/>
                    <a:pt x="316" y="984"/>
                  </a:cubicBezTo>
                  <a:cubicBezTo>
                    <a:pt x="316" y="1060"/>
                    <a:pt x="351" y="1091"/>
                    <a:pt x="389" y="1091"/>
                  </a:cubicBezTo>
                  <a:cubicBezTo>
                    <a:pt x="405" y="1091"/>
                    <a:pt x="422" y="1088"/>
                    <a:pt x="434" y="1086"/>
                  </a:cubicBezTo>
                  <a:cubicBezTo>
                    <a:pt x="440" y="1084"/>
                    <a:pt x="444" y="1077"/>
                    <a:pt x="442" y="1071"/>
                  </a:cubicBezTo>
                  <a:cubicBezTo>
                    <a:pt x="430" y="1040"/>
                    <a:pt x="422" y="998"/>
                    <a:pt x="422" y="950"/>
                  </a:cubicBezTo>
                  <a:cubicBezTo>
                    <a:pt x="422" y="694"/>
                    <a:pt x="630" y="487"/>
                    <a:pt x="885" y="487"/>
                  </a:cubicBezTo>
                  <a:cubicBezTo>
                    <a:pt x="946" y="487"/>
                    <a:pt x="1003" y="498"/>
                    <a:pt x="1057" y="519"/>
                  </a:cubicBezTo>
                  <a:cubicBezTo>
                    <a:pt x="1053" y="530"/>
                    <a:pt x="1051" y="542"/>
                    <a:pt x="1048" y="553"/>
                  </a:cubicBezTo>
                  <a:cubicBezTo>
                    <a:pt x="1008" y="537"/>
                    <a:pt x="955" y="523"/>
                    <a:pt x="885" y="523"/>
                  </a:cubicBezTo>
                  <a:cubicBezTo>
                    <a:pt x="650" y="523"/>
                    <a:pt x="458" y="715"/>
                    <a:pt x="458" y="950"/>
                  </a:cubicBezTo>
                  <a:cubicBezTo>
                    <a:pt x="458" y="1011"/>
                    <a:pt x="475" y="1090"/>
                    <a:pt x="535" y="1090"/>
                  </a:cubicBezTo>
                  <a:cubicBezTo>
                    <a:pt x="564" y="1090"/>
                    <a:pt x="574" y="1070"/>
                    <a:pt x="568" y="1056"/>
                  </a:cubicBezTo>
                  <a:cubicBezTo>
                    <a:pt x="562" y="1057"/>
                    <a:pt x="556" y="1059"/>
                    <a:pt x="544" y="1059"/>
                  </a:cubicBezTo>
                  <a:cubicBezTo>
                    <a:pt x="516" y="1059"/>
                    <a:pt x="494" y="1021"/>
                    <a:pt x="494" y="950"/>
                  </a:cubicBezTo>
                  <a:cubicBezTo>
                    <a:pt x="494" y="734"/>
                    <a:pt x="669" y="559"/>
                    <a:pt x="885" y="559"/>
                  </a:cubicBezTo>
                  <a:cubicBezTo>
                    <a:pt x="959" y="559"/>
                    <a:pt x="1016" y="577"/>
                    <a:pt x="1056" y="597"/>
                  </a:cubicBezTo>
                  <a:cubicBezTo>
                    <a:pt x="1065" y="601"/>
                    <a:pt x="1075" y="595"/>
                    <a:pt x="1077" y="585"/>
                  </a:cubicBezTo>
                  <a:cubicBezTo>
                    <a:pt x="1079" y="571"/>
                    <a:pt x="1084" y="553"/>
                    <a:pt x="1089" y="534"/>
                  </a:cubicBezTo>
                  <a:cubicBezTo>
                    <a:pt x="1243" y="609"/>
                    <a:pt x="1349" y="768"/>
                    <a:pt x="1349" y="950"/>
                  </a:cubicBezTo>
                  <a:cubicBezTo>
                    <a:pt x="1349" y="974"/>
                    <a:pt x="1347" y="998"/>
                    <a:pt x="1343" y="1021"/>
                  </a:cubicBezTo>
                  <a:cubicBezTo>
                    <a:pt x="1328" y="1014"/>
                    <a:pt x="1314" y="1005"/>
                    <a:pt x="1299" y="996"/>
                  </a:cubicBezTo>
                  <a:cubicBezTo>
                    <a:pt x="1283" y="987"/>
                    <a:pt x="1274" y="994"/>
                    <a:pt x="1272" y="1009"/>
                  </a:cubicBezTo>
                  <a:cubicBezTo>
                    <a:pt x="1244" y="1200"/>
                    <a:pt x="1086" y="1341"/>
                    <a:pt x="894" y="1341"/>
                  </a:cubicBezTo>
                  <a:cubicBezTo>
                    <a:pt x="763" y="1341"/>
                    <a:pt x="691" y="1290"/>
                    <a:pt x="672" y="1250"/>
                  </a:cubicBezTo>
                  <a:cubicBezTo>
                    <a:pt x="662" y="1253"/>
                    <a:pt x="654" y="1262"/>
                    <a:pt x="654" y="1276"/>
                  </a:cubicBezTo>
                  <a:cubicBezTo>
                    <a:pt x="654" y="1300"/>
                    <a:pt x="694" y="1327"/>
                    <a:pt x="721" y="1340"/>
                  </a:cubicBezTo>
                  <a:cubicBezTo>
                    <a:pt x="761" y="1360"/>
                    <a:pt x="815" y="1377"/>
                    <a:pt x="894" y="1377"/>
                  </a:cubicBezTo>
                  <a:cubicBezTo>
                    <a:pt x="1095" y="1377"/>
                    <a:pt x="1261" y="1235"/>
                    <a:pt x="1303" y="1040"/>
                  </a:cubicBezTo>
                  <a:cubicBezTo>
                    <a:pt x="1314" y="1046"/>
                    <a:pt x="1325" y="1052"/>
                    <a:pt x="1337" y="1058"/>
                  </a:cubicBezTo>
                  <a:cubicBezTo>
                    <a:pt x="1290" y="1261"/>
                    <a:pt x="1113" y="1413"/>
                    <a:pt x="895" y="1413"/>
                  </a:cubicBezTo>
                  <a:cubicBezTo>
                    <a:pt x="713" y="1413"/>
                    <a:pt x="621" y="1325"/>
                    <a:pt x="616" y="1296"/>
                  </a:cubicBezTo>
                  <a:cubicBezTo>
                    <a:pt x="602" y="1296"/>
                    <a:pt x="594" y="1307"/>
                    <a:pt x="594" y="1320"/>
                  </a:cubicBezTo>
                  <a:cubicBezTo>
                    <a:pt x="594" y="1335"/>
                    <a:pt x="606" y="1350"/>
                    <a:pt x="619" y="1361"/>
                  </a:cubicBezTo>
                  <a:cubicBezTo>
                    <a:pt x="653" y="1392"/>
                    <a:pt x="738" y="1449"/>
                    <a:pt x="895" y="1449"/>
                  </a:cubicBezTo>
                  <a:cubicBezTo>
                    <a:pt x="1103" y="1449"/>
                    <a:pt x="1277" y="1320"/>
                    <a:pt x="1349" y="1138"/>
                  </a:cubicBezTo>
                  <a:cubicBezTo>
                    <a:pt x="1359" y="1143"/>
                    <a:pt x="1371" y="1147"/>
                    <a:pt x="1382" y="1152"/>
                  </a:cubicBezTo>
                  <a:cubicBezTo>
                    <a:pt x="1304" y="1348"/>
                    <a:pt x="1116" y="1485"/>
                    <a:pt x="894" y="1485"/>
                  </a:cubicBezTo>
                  <a:cubicBezTo>
                    <a:pt x="688" y="1485"/>
                    <a:pt x="549" y="1379"/>
                    <a:pt x="534" y="1297"/>
                  </a:cubicBezTo>
                  <a:cubicBezTo>
                    <a:pt x="522" y="1297"/>
                    <a:pt x="509" y="1308"/>
                    <a:pt x="509" y="1325"/>
                  </a:cubicBezTo>
                  <a:cubicBezTo>
                    <a:pt x="509" y="1338"/>
                    <a:pt x="520" y="1357"/>
                    <a:pt x="523" y="1362"/>
                  </a:cubicBezTo>
                  <a:cubicBezTo>
                    <a:pt x="554" y="1410"/>
                    <a:pt x="665" y="1521"/>
                    <a:pt x="894" y="1521"/>
                  </a:cubicBezTo>
                  <a:cubicBezTo>
                    <a:pt x="1132" y="1521"/>
                    <a:pt x="1334" y="1373"/>
                    <a:pt x="1416" y="1162"/>
                  </a:cubicBezTo>
                  <a:cubicBezTo>
                    <a:pt x="1455" y="1173"/>
                    <a:pt x="1501" y="1179"/>
                    <a:pt x="1557" y="1179"/>
                  </a:cubicBezTo>
                  <a:cubicBezTo>
                    <a:pt x="1928" y="1179"/>
                    <a:pt x="2065" y="901"/>
                    <a:pt x="2089" y="800"/>
                  </a:cubicBezTo>
                  <a:cubicBezTo>
                    <a:pt x="2104" y="734"/>
                    <a:pt x="2096" y="711"/>
                    <a:pt x="2062" y="711"/>
                  </a:cubicBezTo>
                  <a:close/>
                  <a:moveTo>
                    <a:pt x="1002" y="465"/>
                  </a:moveTo>
                  <a:cubicBezTo>
                    <a:pt x="964" y="456"/>
                    <a:pt x="925" y="451"/>
                    <a:pt x="885" y="451"/>
                  </a:cubicBezTo>
                  <a:cubicBezTo>
                    <a:pt x="610" y="451"/>
                    <a:pt x="386" y="675"/>
                    <a:pt x="386" y="950"/>
                  </a:cubicBezTo>
                  <a:cubicBezTo>
                    <a:pt x="386" y="982"/>
                    <a:pt x="388" y="1021"/>
                    <a:pt x="400" y="1055"/>
                  </a:cubicBezTo>
                  <a:cubicBezTo>
                    <a:pt x="364" y="1065"/>
                    <a:pt x="351" y="1028"/>
                    <a:pt x="351" y="984"/>
                  </a:cubicBezTo>
                  <a:cubicBezTo>
                    <a:pt x="351" y="984"/>
                    <a:pt x="351" y="979"/>
                    <a:pt x="351" y="968"/>
                  </a:cubicBezTo>
                  <a:cubicBezTo>
                    <a:pt x="354" y="837"/>
                    <a:pt x="385" y="763"/>
                    <a:pt x="385" y="763"/>
                  </a:cubicBezTo>
                  <a:cubicBezTo>
                    <a:pt x="422" y="661"/>
                    <a:pt x="490" y="577"/>
                    <a:pt x="577" y="514"/>
                  </a:cubicBezTo>
                  <a:cubicBezTo>
                    <a:pt x="667" y="449"/>
                    <a:pt x="774" y="415"/>
                    <a:pt x="885" y="415"/>
                  </a:cubicBezTo>
                  <a:cubicBezTo>
                    <a:pt x="928" y="415"/>
                    <a:pt x="971" y="420"/>
                    <a:pt x="1012" y="430"/>
                  </a:cubicBezTo>
                  <a:cubicBezTo>
                    <a:pt x="1008" y="441"/>
                    <a:pt x="1005" y="453"/>
                    <a:pt x="1002" y="465"/>
                  </a:cubicBezTo>
                  <a:close/>
                  <a:moveTo>
                    <a:pt x="1162" y="535"/>
                  </a:moveTo>
                  <a:cubicBezTo>
                    <a:pt x="1166" y="523"/>
                    <a:pt x="1169" y="511"/>
                    <a:pt x="1173" y="499"/>
                  </a:cubicBezTo>
                  <a:cubicBezTo>
                    <a:pt x="1324" y="595"/>
                    <a:pt x="1421" y="764"/>
                    <a:pt x="1421" y="950"/>
                  </a:cubicBezTo>
                  <a:cubicBezTo>
                    <a:pt x="1421" y="959"/>
                    <a:pt x="1420" y="968"/>
                    <a:pt x="1420" y="978"/>
                  </a:cubicBezTo>
                  <a:cubicBezTo>
                    <a:pt x="1406" y="973"/>
                    <a:pt x="1394" y="969"/>
                    <a:pt x="1384" y="964"/>
                  </a:cubicBezTo>
                  <a:cubicBezTo>
                    <a:pt x="1384" y="960"/>
                    <a:pt x="1384" y="955"/>
                    <a:pt x="1384" y="950"/>
                  </a:cubicBezTo>
                  <a:cubicBezTo>
                    <a:pt x="1384" y="777"/>
                    <a:pt x="1296" y="625"/>
                    <a:pt x="1162" y="5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1409043904"/>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wo_columns_with_heading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12648" y="1869440"/>
            <a:ext cx="5393208" cy="4223385"/>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4" name="Content Placeholder 3"/>
          <p:cNvSpPr>
            <a:spLocks noGrp="1"/>
          </p:cNvSpPr>
          <p:nvPr>
            <p:ph sz="half" idx="2" hasCustomPrompt="1"/>
          </p:nvPr>
        </p:nvSpPr>
        <p:spPr>
          <a:xfrm>
            <a:off x="6199632" y="1869440"/>
            <a:ext cx="5393208" cy="4223385"/>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10" name="Text Placeholder 9"/>
          <p:cNvSpPr>
            <a:spLocks noGrp="1"/>
          </p:cNvSpPr>
          <p:nvPr>
            <p:ph type="body" sz="quarter" idx="12" hasCustomPrompt="1"/>
          </p:nvPr>
        </p:nvSpPr>
        <p:spPr>
          <a:xfrm>
            <a:off x="609918" y="1137920"/>
            <a:ext cx="5393208" cy="640800"/>
          </a:xfrm>
          <a:prstGeom prst="rect">
            <a:avLst/>
          </a:prstGeom>
        </p:spPr>
        <p:txBody>
          <a:bodyPr anchor="t" anchorCtr="0">
            <a:noAutofit/>
          </a:bodyPr>
          <a:lstStyle>
            <a:lvl1pPr marL="0" indent="0">
              <a:buNone/>
              <a:defRPr b="1">
                <a:solidFill>
                  <a:schemeClr val="bg1"/>
                </a:solidFill>
              </a:defRPr>
            </a:lvl1pPr>
          </a:lstStyle>
          <a:p>
            <a:pPr lvl="0"/>
            <a:r>
              <a:rPr lang="en-US" noProof="0" dirty="0"/>
              <a:t>Click to edit</a:t>
            </a:r>
          </a:p>
        </p:txBody>
      </p:sp>
      <p:sp>
        <p:nvSpPr>
          <p:cNvPr id="11" name="Text Placeholder 9"/>
          <p:cNvSpPr>
            <a:spLocks noGrp="1"/>
          </p:cNvSpPr>
          <p:nvPr>
            <p:ph type="body" sz="quarter" idx="13" hasCustomPrompt="1"/>
          </p:nvPr>
        </p:nvSpPr>
        <p:spPr>
          <a:xfrm>
            <a:off x="6199632" y="1137920"/>
            <a:ext cx="5393208" cy="640800"/>
          </a:xfrm>
          <a:prstGeom prst="rect">
            <a:avLst/>
          </a:prstGeom>
        </p:spPr>
        <p:txBody>
          <a:bodyPr anchor="t" anchorCtr="0">
            <a:noAutofit/>
          </a:bodyPr>
          <a:lstStyle>
            <a:lvl1pPr marL="0" indent="0">
              <a:buNone/>
              <a:defRPr b="1">
                <a:solidFill>
                  <a:schemeClr val="bg1"/>
                </a:solidFill>
              </a:defRPr>
            </a:lvl1pPr>
          </a:lstStyle>
          <a:p>
            <a:pPr lvl="0"/>
            <a:r>
              <a:rPr lang="en-US" noProof="0" dirty="0"/>
              <a:t>Click to edit</a:t>
            </a:r>
          </a:p>
        </p:txBody>
      </p:sp>
      <p:sp>
        <p:nvSpPr>
          <p:cNvPr id="2" name="Title 1"/>
          <p:cNvSpPr>
            <a:spLocks noGrp="1"/>
          </p:cNvSpPr>
          <p:nvPr>
            <p:ph type="title" hasCustomPrompt="1"/>
          </p:nvPr>
        </p:nvSpPr>
        <p:spPr>
          <a:xfrm>
            <a:off x="609918" y="294200"/>
            <a:ext cx="10978515" cy="590880"/>
          </a:xfrm>
        </p:spPr>
        <p:txBody>
          <a:bodyPr/>
          <a:lstStyle>
            <a:lvl1pPr>
              <a:defRPr>
                <a:solidFill>
                  <a:schemeClr val="bg1"/>
                </a:solidFill>
              </a:defRPr>
            </a:lvl1pPr>
          </a:lstStyle>
          <a:p>
            <a:r>
              <a:rPr lang="en-US" noProof="0"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16510D6D-30BD-4075-B43B-6E2BF2FEC1F8}" type="datetime3">
              <a:rPr lang="en-US" noProof="0" smtClean="0"/>
              <a:t>14 September 2022</a:t>
            </a:fld>
            <a:endParaRPr lang="en-US" noProof="0"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2561902831"/>
      </p:ext>
    </p:extLst>
  </p:cSld>
  <p:clrMapOvr>
    <a:masterClrMapping/>
  </p:clrMapOvr>
  <p:extLst>
    <p:ext uri="{DCECCB84-F9BA-43D5-87BE-67443E8EF086}">
      <p15:sldGuideLst xmlns:p15="http://schemas.microsoft.com/office/powerpoint/2012/main">
        <p15:guide id="1" pos="3909" userDrawn="1">
          <p15:clr>
            <a:srgbClr val="FBAE40"/>
          </p15:clr>
        </p15:guide>
        <p15:guide id="2" pos="377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Divider_1">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2CAA955-C688-4D17-A718-E12620276EB6}" type="datetime3">
              <a:rPr lang="en-US" smtClean="0"/>
              <a:t>14 September 2022</a:t>
            </a:fld>
            <a:endParaRPr lang="en-US" dirty="0"/>
          </a:p>
        </p:txBody>
      </p:sp>
      <p:sp>
        <p:nvSpPr>
          <p:cNvPr id="4" name="Fußzeilenplatzhalter 3"/>
          <p:cNvSpPr>
            <a:spLocks noGrp="1"/>
          </p:cNvSpPr>
          <p:nvPr>
            <p:ph type="ftr" sz="quarter" idx="11"/>
          </p:nvPr>
        </p:nvSpPr>
        <p:spPr/>
        <p:txBody>
          <a:bodyPr/>
          <a:lstStyle/>
          <a:p>
            <a:r>
              <a:rPr lang="en-US"/>
              <a:t>Presentation title</a:t>
            </a:r>
          </a:p>
        </p:txBody>
      </p:sp>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Nr.›</a:t>
            </a:fld>
            <a:endParaRPr lang="en-US" dirty="0"/>
          </a:p>
        </p:txBody>
      </p:sp>
      <p:sp>
        <p:nvSpPr>
          <p:cNvPr id="6" name="Picture Placeholder 14">
            <a:extLst>
              <a:ext uri="{FF2B5EF4-FFF2-40B4-BE49-F238E27FC236}">
                <a16:creationId xmlns:a16="http://schemas.microsoft.com/office/drawing/2014/main" id="{628F8CDB-776D-4811-AE2C-217236ECDECA}"/>
              </a:ext>
            </a:extLst>
          </p:cNvPr>
          <p:cNvSpPr>
            <a:spLocks noGrp="1"/>
          </p:cNvSpPr>
          <p:nvPr>
            <p:ph type="pic" sz="quarter" idx="13" hasCustomPrompt="1"/>
          </p:nvPr>
        </p:nvSpPr>
        <p:spPr>
          <a:xfrm>
            <a:off x="6227180" y="0"/>
            <a:ext cx="5971170" cy="6858000"/>
          </a:xfrm>
          <a:prstGeom prst="rect">
            <a:avLst/>
          </a:prstGeom>
        </p:spPr>
        <p:txBody>
          <a:bodyPr/>
          <a:lstStyle>
            <a:lvl1pPr marL="0" indent="0">
              <a:buFontTx/>
              <a:buNone/>
              <a:defRPr/>
            </a:lvl1pPr>
          </a:lstStyle>
          <a:p>
            <a:r>
              <a:rPr lang="en-US" noProof="0" dirty="0"/>
              <a:t>Click icon to add picture</a:t>
            </a:r>
          </a:p>
        </p:txBody>
      </p:sp>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00710" y="2578743"/>
            <a:ext cx="4537959" cy="1055708"/>
          </a:xfrm>
          <a:prstGeom prst="rect">
            <a:avLst/>
          </a:prstGeom>
        </p:spPr>
        <p:txBody>
          <a:bodyPr>
            <a:noAutofit/>
          </a:bodyPr>
          <a:lstStyle>
            <a:lvl1pPr marL="0" indent="0">
              <a:buNone/>
              <a:defRPr sz="3000"/>
            </a:lvl1pPr>
          </a:lstStyle>
          <a:p>
            <a:pPr lvl="0"/>
            <a:r>
              <a:rPr lang="en-US" noProof="0" dirty="0"/>
              <a:t>Chapter Title</a:t>
            </a:r>
          </a:p>
          <a:p>
            <a:pPr lvl="0"/>
            <a:r>
              <a:rPr lang="en-US" noProof="0" dirty="0"/>
              <a:t>EY Interstate Light</a:t>
            </a:r>
          </a:p>
        </p:txBody>
      </p:sp>
      <p:sp>
        <p:nvSpPr>
          <p:cNvPr id="8" name="Text Placeholder 4">
            <a:extLst>
              <a:ext uri="{FF2B5EF4-FFF2-40B4-BE49-F238E27FC236}">
                <a16:creationId xmlns:a16="http://schemas.microsoft.com/office/drawing/2014/main" id="{1173C8A3-BA2F-497B-A214-45B02D73AF20}"/>
              </a:ext>
            </a:extLst>
          </p:cNvPr>
          <p:cNvSpPr>
            <a:spLocks noGrp="1"/>
          </p:cNvSpPr>
          <p:nvPr>
            <p:ph type="body" sz="quarter" idx="15" hasCustomPrompt="1"/>
          </p:nvPr>
        </p:nvSpPr>
        <p:spPr>
          <a:xfrm>
            <a:off x="600710" y="3840384"/>
            <a:ext cx="4537959" cy="1055708"/>
          </a:xfrm>
          <a:prstGeom prst="rect">
            <a:avLst/>
          </a:prstGeom>
        </p:spPr>
        <p:txBody>
          <a:bodyPr>
            <a:noAutofit/>
          </a:bodyPr>
          <a:lstStyle>
            <a:lvl1pPr marL="0" indent="0">
              <a:buNone/>
              <a:defRPr sz="1600"/>
            </a:lvl1pPr>
          </a:lstStyle>
          <a:p>
            <a:pPr lvl="0"/>
            <a:r>
              <a:rPr lang="en-US" noProof="0" dirty="0"/>
              <a:t>Click to edit</a:t>
            </a:r>
            <a:endParaRPr lang="de-DE" noProof="0" dirty="0"/>
          </a:p>
        </p:txBody>
      </p:sp>
    </p:spTree>
    <p:extLst>
      <p:ext uri="{BB962C8B-B14F-4D97-AF65-F5344CB8AC3E}">
        <p14:creationId xmlns:p14="http://schemas.microsoft.com/office/powerpoint/2010/main" val="5007990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15:guide id="1" orient="horz" pos="1230" userDrawn="1">
          <p15:clr>
            <a:srgbClr val="FBAE40"/>
          </p15:clr>
        </p15:guide>
        <p15:guide id="2" pos="55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2CAA955-C688-4D17-A718-E12620276EB6}" type="datetime3">
              <a:rPr lang="en-US" smtClean="0"/>
              <a:t>14 September 2022</a:t>
            </a:fld>
            <a:endParaRPr lang="en-US" dirty="0"/>
          </a:p>
        </p:txBody>
      </p:sp>
      <p:sp>
        <p:nvSpPr>
          <p:cNvPr id="4" name="Fußzeilenplatzhalter 3"/>
          <p:cNvSpPr>
            <a:spLocks noGrp="1"/>
          </p:cNvSpPr>
          <p:nvPr>
            <p:ph type="ftr" sz="quarter" idx="11"/>
          </p:nvPr>
        </p:nvSpPr>
        <p:spPr/>
        <p:txBody>
          <a:bodyPr/>
          <a:lstStyle/>
          <a:p>
            <a:r>
              <a:rPr lang="en-US"/>
              <a:t>Presentation title</a:t>
            </a:r>
          </a:p>
        </p:txBody>
      </p:sp>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Nr.›</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Video_full_screen">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a:prstGeom prst="rect">
            <a:avLst/>
          </a:prstGeom>
        </p:spPr>
        <p:txBody>
          <a:bodyPr anchor="ctr"/>
          <a:lstStyle>
            <a:lvl1pPr marL="0" indent="0" algn="ctr">
              <a:buNone/>
              <a:defRPr/>
            </a:lvl1pPr>
          </a:lstStyle>
          <a:p>
            <a:r>
              <a:rPr lang="en-US" noProof="0"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7D5E4DB0-3F0E-4299-A8C0-F6EFC443BC0A}" type="datetime3">
              <a:rPr lang="en-US" noProof="0" smtClean="0"/>
              <a:t>14 September 2022</a:t>
            </a:fld>
            <a:endParaRPr lang="en-US" noProof="0"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noProof="0"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3573040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5_Cover_approved_question_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bwMode="invGray">
          <a:xfrm>
            <a:off x="622940"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1069705"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endParaRPr lang="de-DE" noProof="0"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a:xfrm>
            <a:off x="1069897" y="3200329"/>
            <a:ext cx="4020628" cy="645742"/>
          </a:xfrm>
          <a:prstGeom prst="rect">
            <a:avLst/>
          </a:prstGeom>
        </p:spPr>
        <p:txBody>
          <a:bodyPr>
            <a:noAutofit/>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4191"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US" noProof="0"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invGray">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5"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2"/>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grpSp>
        <p:nvGrpSpPr>
          <p:cNvPr id="86" name="Gruppieren 85"/>
          <p:cNvGrpSpPr/>
          <p:nvPr userDrawn="1"/>
        </p:nvGrpSpPr>
        <p:grpSpPr bwMode="invGray">
          <a:xfrm>
            <a:off x="9713775" y="440057"/>
            <a:ext cx="1868402" cy="962657"/>
            <a:chOff x="9731769" y="638177"/>
            <a:chExt cx="2017456" cy="1039454"/>
          </a:xfrm>
        </p:grpSpPr>
        <p:sp>
          <p:nvSpPr>
            <p:cNvPr id="87" name="Freeform 5">
              <a:extLst>
                <a:ext uri="{FF2B5EF4-FFF2-40B4-BE49-F238E27FC236}">
                  <a16:creationId xmlns:a16="http://schemas.microsoft.com/office/drawing/2014/main" id="{8A9BDB58-231B-4B70-8059-20CAA94E9F64}"/>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8" name="Freeform 6">
              <a:extLst>
                <a:ext uri="{FF2B5EF4-FFF2-40B4-BE49-F238E27FC236}">
                  <a16:creationId xmlns:a16="http://schemas.microsoft.com/office/drawing/2014/main" id="{97DAE07B-DE87-4358-BA44-6531EF3573CD}"/>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7">
              <a:extLst>
                <a:ext uri="{FF2B5EF4-FFF2-40B4-BE49-F238E27FC236}">
                  <a16:creationId xmlns:a16="http://schemas.microsoft.com/office/drawing/2014/main" id="{39829C97-B9FD-4508-8651-C460629865A1}"/>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0" name="Freeform 8">
              <a:extLst>
                <a:ext uri="{FF2B5EF4-FFF2-40B4-BE49-F238E27FC236}">
                  <a16:creationId xmlns:a16="http://schemas.microsoft.com/office/drawing/2014/main" id="{E6E8D961-2633-4DD4-9603-DC987B33CBF8}"/>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1" name="Freeform 9">
              <a:extLst>
                <a:ext uri="{FF2B5EF4-FFF2-40B4-BE49-F238E27FC236}">
                  <a16:creationId xmlns:a16="http://schemas.microsoft.com/office/drawing/2014/main" id="{F4A1F26E-26EA-44D8-8D11-97229CEC2530}"/>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2" name="Freeform 10">
              <a:extLst>
                <a:ext uri="{FF2B5EF4-FFF2-40B4-BE49-F238E27FC236}">
                  <a16:creationId xmlns:a16="http://schemas.microsoft.com/office/drawing/2014/main" id="{45C1803D-4651-4E80-B712-F3F311657C4D}"/>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3" name="Freeform 11">
              <a:extLst>
                <a:ext uri="{FF2B5EF4-FFF2-40B4-BE49-F238E27FC236}">
                  <a16:creationId xmlns:a16="http://schemas.microsoft.com/office/drawing/2014/main" id="{711CC3A8-EDFC-4EAE-A2DC-ACDC3B1D9DEB}"/>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4" name="Freeform 12">
              <a:extLst>
                <a:ext uri="{FF2B5EF4-FFF2-40B4-BE49-F238E27FC236}">
                  <a16:creationId xmlns:a16="http://schemas.microsoft.com/office/drawing/2014/main" id="{C17A032D-DB72-46B0-B4C8-EE8C8CC504F2}"/>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5" name="Freeform 13">
              <a:extLst>
                <a:ext uri="{FF2B5EF4-FFF2-40B4-BE49-F238E27FC236}">
                  <a16:creationId xmlns:a16="http://schemas.microsoft.com/office/drawing/2014/main" id="{2280FDE2-015D-4B7A-8900-05F5FB783060}"/>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6" name="Freeform 14">
              <a:extLst>
                <a:ext uri="{FF2B5EF4-FFF2-40B4-BE49-F238E27FC236}">
                  <a16:creationId xmlns:a16="http://schemas.microsoft.com/office/drawing/2014/main" id="{D3D1BB3D-6AD6-4BE1-893D-EBCB285005E9}"/>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7" name="Freeform 15">
              <a:extLst>
                <a:ext uri="{FF2B5EF4-FFF2-40B4-BE49-F238E27FC236}">
                  <a16:creationId xmlns:a16="http://schemas.microsoft.com/office/drawing/2014/main" id="{98B7DF92-85DC-454B-9A4B-F9A35E6A3C3A}"/>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8" name="Freeform 16">
              <a:extLst>
                <a:ext uri="{FF2B5EF4-FFF2-40B4-BE49-F238E27FC236}">
                  <a16:creationId xmlns:a16="http://schemas.microsoft.com/office/drawing/2014/main" id="{42944BA6-F9C0-48FA-B96D-E1DF6E30FA74}"/>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9" name="Freeform 17">
              <a:extLst>
                <a:ext uri="{FF2B5EF4-FFF2-40B4-BE49-F238E27FC236}">
                  <a16:creationId xmlns:a16="http://schemas.microsoft.com/office/drawing/2014/main" id="{AD76CDEE-75C6-43F6-B367-6EF14BC3B7FE}"/>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0" name="Freeform 18">
              <a:extLst>
                <a:ext uri="{FF2B5EF4-FFF2-40B4-BE49-F238E27FC236}">
                  <a16:creationId xmlns:a16="http://schemas.microsoft.com/office/drawing/2014/main" id="{DACB136F-C6ED-433D-9631-749BCDC77B78}"/>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19">
              <a:extLst>
                <a:ext uri="{FF2B5EF4-FFF2-40B4-BE49-F238E27FC236}">
                  <a16:creationId xmlns:a16="http://schemas.microsoft.com/office/drawing/2014/main" id="{922FADCD-4917-47C7-ADDB-1574B3C49CA8}"/>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2" name="Freeform 20">
              <a:extLst>
                <a:ext uri="{FF2B5EF4-FFF2-40B4-BE49-F238E27FC236}">
                  <a16:creationId xmlns:a16="http://schemas.microsoft.com/office/drawing/2014/main" id="{EEA96631-7CCE-49D6-A700-D76FF986E47F}"/>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3" name="Freeform 21">
              <a:extLst>
                <a:ext uri="{FF2B5EF4-FFF2-40B4-BE49-F238E27FC236}">
                  <a16:creationId xmlns:a16="http://schemas.microsoft.com/office/drawing/2014/main" id="{4BB24B6E-8D3D-449A-850B-52F8A8EF40A7}"/>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4" name="Freeform 22">
              <a:extLst>
                <a:ext uri="{FF2B5EF4-FFF2-40B4-BE49-F238E27FC236}">
                  <a16:creationId xmlns:a16="http://schemas.microsoft.com/office/drawing/2014/main" id="{767CA49F-CF78-4517-9D40-459A6165DB66}"/>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5" name="Freeform 23">
              <a:extLst>
                <a:ext uri="{FF2B5EF4-FFF2-40B4-BE49-F238E27FC236}">
                  <a16:creationId xmlns:a16="http://schemas.microsoft.com/office/drawing/2014/main" id="{BCE97B83-65DD-49DB-AC39-56BB28ACA966}"/>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6" name="Freeform 24">
              <a:extLst>
                <a:ext uri="{FF2B5EF4-FFF2-40B4-BE49-F238E27FC236}">
                  <a16:creationId xmlns:a16="http://schemas.microsoft.com/office/drawing/2014/main" id="{3A70ECD6-5CB1-4ABC-BD20-5CD3C4FFDF5E}"/>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7" name="Freeform 25">
              <a:extLst>
                <a:ext uri="{FF2B5EF4-FFF2-40B4-BE49-F238E27FC236}">
                  <a16:creationId xmlns:a16="http://schemas.microsoft.com/office/drawing/2014/main" id="{5A85C156-A249-4B2C-8A44-A8D8A3A0EEFE}"/>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8" name="Freeform 26">
              <a:extLst>
                <a:ext uri="{FF2B5EF4-FFF2-40B4-BE49-F238E27FC236}">
                  <a16:creationId xmlns:a16="http://schemas.microsoft.com/office/drawing/2014/main" id="{91225174-20DB-4A4F-A5BB-9A114EDC0F3E}"/>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9" name="Freeform 27">
              <a:extLst>
                <a:ext uri="{FF2B5EF4-FFF2-40B4-BE49-F238E27FC236}">
                  <a16:creationId xmlns:a16="http://schemas.microsoft.com/office/drawing/2014/main" id="{43682DD6-D2ED-4863-B27B-40F3CBE0E381}"/>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0" name="Freeform 28">
              <a:extLst>
                <a:ext uri="{FF2B5EF4-FFF2-40B4-BE49-F238E27FC236}">
                  <a16:creationId xmlns:a16="http://schemas.microsoft.com/office/drawing/2014/main" id="{3D572001-B851-4D74-9AAD-13EE61D916F6}"/>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1" name="Freeform 29">
              <a:extLst>
                <a:ext uri="{FF2B5EF4-FFF2-40B4-BE49-F238E27FC236}">
                  <a16:creationId xmlns:a16="http://schemas.microsoft.com/office/drawing/2014/main" id="{A827519A-33F0-4CCB-AE07-C95A795FF2FB}"/>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2" name="Freeform 30">
              <a:extLst>
                <a:ext uri="{FF2B5EF4-FFF2-40B4-BE49-F238E27FC236}">
                  <a16:creationId xmlns:a16="http://schemas.microsoft.com/office/drawing/2014/main" id="{4BC09A9F-8959-48BA-9B94-7840D333316F}"/>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3" name="Freeform 31">
              <a:extLst>
                <a:ext uri="{FF2B5EF4-FFF2-40B4-BE49-F238E27FC236}">
                  <a16:creationId xmlns:a16="http://schemas.microsoft.com/office/drawing/2014/main" id="{125CF3D1-4644-4A4C-A605-6CBB28099392}"/>
                </a:ext>
              </a:extLst>
            </p:cNvPr>
            <p:cNvSpPr>
              <a:spLocks/>
            </p:cNvSpPr>
            <p:nvPr/>
          </p:nvSpPr>
          <p:spPr bwMode="invGray">
            <a:xfrm>
              <a:off x="11214461" y="970279"/>
              <a:ext cx="83679" cy="112444"/>
            </a:xfrm>
            <a:custGeom>
              <a:avLst/>
              <a:gdLst>
                <a:gd name="T0" fmla="*/ 123 w 123"/>
                <a:gd name="T1" fmla="*/ 94 h 165"/>
                <a:gd name="T2" fmla="*/ 107 w 123"/>
                <a:gd name="T3" fmla="*/ 147 h 165"/>
                <a:gd name="T4" fmla="*/ 62 w 123"/>
                <a:gd name="T5" fmla="*/ 165 h 165"/>
                <a:gd name="T6" fmla="*/ 39 w 123"/>
                <a:gd name="T7" fmla="*/ 161 h 165"/>
                <a:gd name="T8" fmla="*/ 22 w 123"/>
                <a:gd name="T9" fmla="*/ 151 h 165"/>
                <a:gd name="T10" fmla="*/ 8 w 123"/>
                <a:gd name="T11" fmla="*/ 136 h 165"/>
                <a:gd name="T12" fmla="*/ 0 w 123"/>
                <a:gd name="T13" fmla="*/ 117 h 165"/>
                <a:gd name="T14" fmla="*/ 31 w 123"/>
                <a:gd name="T15" fmla="*/ 108 h 165"/>
                <a:gd name="T16" fmla="*/ 36 w 123"/>
                <a:gd name="T17" fmla="*/ 119 h 165"/>
                <a:gd name="T18" fmla="*/ 43 w 123"/>
                <a:gd name="T19" fmla="*/ 126 h 165"/>
                <a:gd name="T20" fmla="*/ 51 w 123"/>
                <a:gd name="T21" fmla="*/ 131 h 165"/>
                <a:gd name="T22" fmla="*/ 62 w 123"/>
                <a:gd name="T23" fmla="*/ 132 h 165"/>
                <a:gd name="T24" fmla="*/ 75 w 123"/>
                <a:gd name="T25" fmla="*/ 130 h 165"/>
                <a:gd name="T26" fmla="*/ 84 w 123"/>
                <a:gd name="T27" fmla="*/ 123 h 165"/>
                <a:gd name="T28" fmla="*/ 89 w 123"/>
                <a:gd name="T29" fmla="*/ 111 h 165"/>
                <a:gd name="T30" fmla="*/ 91 w 123"/>
                <a:gd name="T31" fmla="*/ 95 h 165"/>
                <a:gd name="T32" fmla="*/ 91 w 123"/>
                <a:gd name="T33" fmla="*/ 0 h 165"/>
                <a:gd name="T34" fmla="*/ 123 w 123"/>
                <a:gd name="T35" fmla="*/ 0 h 165"/>
                <a:gd name="T36" fmla="*/ 123 w 123"/>
                <a:gd name="T37" fmla="*/ 9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65">
                  <a:moveTo>
                    <a:pt x="123" y="94"/>
                  </a:moveTo>
                  <a:cubicBezTo>
                    <a:pt x="123" y="117"/>
                    <a:pt x="118" y="135"/>
                    <a:pt x="107" y="147"/>
                  </a:cubicBezTo>
                  <a:cubicBezTo>
                    <a:pt x="97" y="159"/>
                    <a:pt x="81" y="165"/>
                    <a:pt x="62" y="165"/>
                  </a:cubicBezTo>
                  <a:cubicBezTo>
                    <a:pt x="54" y="165"/>
                    <a:pt x="46" y="163"/>
                    <a:pt x="39" y="161"/>
                  </a:cubicBezTo>
                  <a:cubicBezTo>
                    <a:pt x="33" y="159"/>
                    <a:pt x="27" y="155"/>
                    <a:pt x="22" y="151"/>
                  </a:cubicBezTo>
                  <a:cubicBezTo>
                    <a:pt x="16" y="147"/>
                    <a:pt x="12" y="142"/>
                    <a:pt x="8" y="136"/>
                  </a:cubicBezTo>
                  <a:cubicBezTo>
                    <a:pt x="4" y="130"/>
                    <a:pt x="2" y="124"/>
                    <a:pt x="0" y="117"/>
                  </a:cubicBezTo>
                  <a:cubicBezTo>
                    <a:pt x="31" y="108"/>
                    <a:pt x="31" y="108"/>
                    <a:pt x="31" y="108"/>
                  </a:cubicBezTo>
                  <a:cubicBezTo>
                    <a:pt x="33" y="113"/>
                    <a:pt x="35" y="116"/>
                    <a:pt x="36" y="119"/>
                  </a:cubicBezTo>
                  <a:cubicBezTo>
                    <a:pt x="38" y="122"/>
                    <a:pt x="40" y="124"/>
                    <a:pt x="43" y="126"/>
                  </a:cubicBezTo>
                  <a:cubicBezTo>
                    <a:pt x="45" y="128"/>
                    <a:pt x="48" y="130"/>
                    <a:pt x="51" y="131"/>
                  </a:cubicBezTo>
                  <a:cubicBezTo>
                    <a:pt x="54" y="132"/>
                    <a:pt x="58" y="132"/>
                    <a:pt x="62" y="132"/>
                  </a:cubicBezTo>
                  <a:cubicBezTo>
                    <a:pt x="67" y="132"/>
                    <a:pt x="71" y="131"/>
                    <a:pt x="75" y="130"/>
                  </a:cubicBezTo>
                  <a:cubicBezTo>
                    <a:pt x="78" y="128"/>
                    <a:pt x="81" y="126"/>
                    <a:pt x="84" y="123"/>
                  </a:cubicBezTo>
                  <a:cubicBezTo>
                    <a:pt x="86" y="119"/>
                    <a:pt x="88" y="115"/>
                    <a:pt x="89" y="111"/>
                  </a:cubicBezTo>
                  <a:cubicBezTo>
                    <a:pt x="90" y="106"/>
                    <a:pt x="91" y="101"/>
                    <a:pt x="91" y="95"/>
                  </a:cubicBezTo>
                  <a:cubicBezTo>
                    <a:pt x="91" y="0"/>
                    <a:pt x="91" y="0"/>
                    <a:pt x="91" y="0"/>
                  </a:cubicBezTo>
                  <a:cubicBezTo>
                    <a:pt x="123" y="0"/>
                    <a:pt x="123" y="0"/>
                    <a:pt x="123" y="0"/>
                  </a:cubicBezTo>
                  <a:lnTo>
                    <a:pt x="123" y="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4" name="Freeform 32">
              <a:extLst>
                <a:ext uri="{FF2B5EF4-FFF2-40B4-BE49-F238E27FC236}">
                  <a16:creationId xmlns:a16="http://schemas.microsoft.com/office/drawing/2014/main" id="{5C66EC1B-AD1B-491B-A19A-A2C96C78BC6A}"/>
                </a:ext>
              </a:extLst>
            </p:cNvPr>
            <p:cNvSpPr>
              <a:spLocks noEditPoints="1"/>
            </p:cNvSpPr>
            <p:nvPr/>
          </p:nvSpPr>
          <p:spPr bwMode="invGray">
            <a:xfrm>
              <a:off x="11312522" y="970279"/>
              <a:ext cx="105907" cy="111137"/>
            </a:xfrm>
            <a:custGeom>
              <a:avLst/>
              <a:gdLst>
                <a:gd name="T0" fmla="*/ 81 w 81"/>
                <a:gd name="T1" fmla="*/ 85 h 85"/>
                <a:gd name="T2" fmla="*/ 63 w 81"/>
                <a:gd name="T3" fmla="*/ 85 h 85"/>
                <a:gd name="T4" fmla="*/ 56 w 81"/>
                <a:gd name="T5" fmla="*/ 66 h 85"/>
                <a:gd name="T6" fmla="*/ 24 w 81"/>
                <a:gd name="T7" fmla="*/ 66 h 85"/>
                <a:gd name="T8" fmla="*/ 18 w 81"/>
                <a:gd name="T9" fmla="*/ 85 h 85"/>
                <a:gd name="T10" fmla="*/ 0 w 81"/>
                <a:gd name="T11" fmla="*/ 85 h 85"/>
                <a:gd name="T12" fmla="*/ 32 w 81"/>
                <a:gd name="T13" fmla="*/ 0 h 85"/>
                <a:gd name="T14" fmla="*/ 49 w 81"/>
                <a:gd name="T15" fmla="*/ 0 h 85"/>
                <a:gd name="T16" fmla="*/ 81 w 81"/>
                <a:gd name="T17" fmla="*/ 85 h 85"/>
                <a:gd name="T18" fmla="*/ 50 w 81"/>
                <a:gd name="T19" fmla="*/ 50 h 85"/>
                <a:gd name="T20" fmla="*/ 40 w 81"/>
                <a:gd name="T21" fmla="*/ 22 h 85"/>
                <a:gd name="T22" fmla="*/ 31 w 81"/>
                <a:gd name="T23" fmla="*/ 50 h 85"/>
                <a:gd name="T24" fmla="*/ 50 w 81"/>
                <a:gd name="T25"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5">
                  <a:moveTo>
                    <a:pt x="81" y="85"/>
                  </a:moveTo>
                  <a:lnTo>
                    <a:pt x="63" y="85"/>
                  </a:lnTo>
                  <a:lnTo>
                    <a:pt x="56" y="66"/>
                  </a:lnTo>
                  <a:lnTo>
                    <a:pt x="24" y="66"/>
                  </a:lnTo>
                  <a:lnTo>
                    <a:pt x="18" y="85"/>
                  </a:lnTo>
                  <a:lnTo>
                    <a:pt x="0" y="85"/>
                  </a:lnTo>
                  <a:lnTo>
                    <a:pt x="32" y="0"/>
                  </a:lnTo>
                  <a:lnTo>
                    <a:pt x="49" y="0"/>
                  </a:lnTo>
                  <a:lnTo>
                    <a:pt x="81" y="85"/>
                  </a:lnTo>
                  <a:close/>
                  <a:moveTo>
                    <a:pt x="50" y="50"/>
                  </a:moveTo>
                  <a:lnTo>
                    <a:pt x="40" y="22"/>
                  </a:lnTo>
                  <a:lnTo>
                    <a:pt x="31" y="50"/>
                  </a:lnTo>
                  <a:lnTo>
                    <a:pt x="50"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5" name="Freeform 33">
              <a:extLst>
                <a:ext uri="{FF2B5EF4-FFF2-40B4-BE49-F238E27FC236}">
                  <a16:creationId xmlns:a16="http://schemas.microsoft.com/office/drawing/2014/main" id="{DE0C7275-54C1-4C0E-A900-3BA9CF18FC7F}"/>
                </a:ext>
              </a:extLst>
            </p:cNvPr>
            <p:cNvSpPr>
              <a:spLocks/>
            </p:cNvSpPr>
            <p:nvPr/>
          </p:nvSpPr>
          <p:spPr bwMode="invGray">
            <a:xfrm>
              <a:off x="11439349" y="970279"/>
              <a:ext cx="88909" cy="111137"/>
            </a:xfrm>
            <a:custGeom>
              <a:avLst/>
              <a:gdLst>
                <a:gd name="T0" fmla="*/ 51 w 68"/>
                <a:gd name="T1" fmla="*/ 85 h 85"/>
                <a:gd name="T2" fmla="*/ 51 w 68"/>
                <a:gd name="T3" fmla="*/ 49 h 85"/>
                <a:gd name="T4" fmla="*/ 17 w 68"/>
                <a:gd name="T5" fmla="*/ 49 h 85"/>
                <a:gd name="T6" fmla="*/ 17 w 68"/>
                <a:gd name="T7" fmla="*/ 85 h 85"/>
                <a:gd name="T8" fmla="*/ 0 w 68"/>
                <a:gd name="T9" fmla="*/ 85 h 85"/>
                <a:gd name="T10" fmla="*/ 0 w 68"/>
                <a:gd name="T11" fmla="*/ 0 h 85"/>
                <a:gd name="T12" fmla="*/ 17 w 68"/>
                <a:gd name="T13" fmla="*/ 0 h 85"/>
                <a:gd name="T14" fmla="*/ 17 w 68"/>
                <a:gd name="T15" fmla="*/ 33 h 85"/>
                <a:gd name="T16" fmla="*/ 51 w 68"/>
                <a:gd name="T17" fmla="*/ 33 h 85"/>
                <a:gd name="T18" fmla="*/ 51 w 68"/>
                <a:gd name="T19" fmla="*/ 0 h 85"/>
                <a:gd name="T20" fmla="*/ 68 w 68"/>
                <a:gd name="T21" fmla="*/ 0 h 85"/>
                <a:gd name="T22" fmla="*/ 68 w 68"/>
                <a:gd name="T23" fmla="*/ 85 h 85"/>
                <a:gd name="T24" fmla="*/ 51 w 68"/>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5">
                  <a:moveTo>
                    <a:pt x="51" y="85"/>
                  </a:moveTo>
                  <a:lnTo>
                    <a:pt x="51" y="49"/>
                  </a:lnTo>
                  <a:lnTo>
                    <a:pt x="17" y="49"/>
                  </a:lnTo>
                  <a:lnTo>
                    <a:pt x="17" y="85"/>
                  </a:lnTo>
                  <a:lnTo>
                    <a:pt x="0" y="85"/>
                  </a:lnTo>
                  <a:lnTo>
                    <a:pt x="0" y="0"/>
                  </a:lnTo>
                  <a:lnTo>
                    <a:pt x="17" y="0"/>
                  </a:lnTo>
                  <a:lnTo>
                    <a:pt x="17" y="33"/>
                  </a:lnTo>
                  <a:lnTo>
                    <a:pt x="51" y="33"/>
                  </a:lnTo>
                  <a:lnTo>
                    <a:pt x="51" y="0"/>
                  </a:lnTo>
                  <a:lnTo>
                    <a:pt x="68" y="0"/>
                  </a:lnTo>
                  <a:lnTo>
                    <a:pt x="68" y="85"/>
                  </a:lnTo>
                  <a:lnTo>
                    <a:pt x="5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6" name="Freeform 34">
              <a:extLst>
                <a:ext uri="{FF2B5EF4-FFF2-40B4-BE49-F238E27FC236}">
                  <a16:creationId xmlns:a16="http://schemas.microsoft.com/office/drawing/2014/main" id="{0A332B72-1C98-486F-B1D7-FD53CDB0B0EC}"/>
                </a:ext>
              </a:extLst>
            </p:cNvPr>
            <p:cNvSpPr>
              <a:spLocks noEditPoints="1"/>
            </p:cNvSpPr>
            <p:nvPr/>
          </p:nvSpPr>
          <p:spPr bwMode="invGray">
            <a:xfrm>
              <a:off x="11557023" y="970279"/>
              <a:ext cx="90217" cy="111137"/>
            </a:xfrm>
            <a:custGeom>
              <a:avLst/>
              <a:gdLst>
                <a:gd name="T0" fmla="*/ 94 w 131"/>
                <a:gd name="T1" fmla="*/ 162 h 162"/>
                <a:gd name="T2" fmla="*/ 65 w 131"/>
                <a:gd name="T3" fmla="*/ 104 h 162"/>
                <a:gd name="T4" fmla="*/ 32 w 131"/>
                <a:gd name="T5" fmla="*/ 104 h 162"/>
                <a:gd name="T6" fmla="*/ 32 w 131"/>
                <a:gd name="T7" fmla="*/ 162 h 162"/>
                <a:gd name="T8" fmla="*/ 0 w 131"/>
                <a:gd name="T9" fmla="*/ 162 h 162"/>
                <a:gd name="T10" fmla="*/ 0 w 131"/>
                <a:gd name="T11" fmla="*/ 0 h 162"/>
                <a:gd name="T12" fmla="*/ 75 w 131"/>
                <a:gd name="T13" fmla="*/ 0 h 162"/>
                <a:gd name="T14" fmla="*/ 97 w 131"/>
                <a:gd name="T15" fmla="*/ 3 h 162"/>
                <a:gd name="T16" fmla="*/ 115 w 131"/>
                <a:gd name="T17" fmla="*/ 12 h 162"/>
                <a:gd name="T18" fmla="*/ 127 w 131"/>
                <a:gd name="T19" fmla="*/ 29 h 162"/>
                <a:gd name="T20" fmla="*/ 131 w 131"/>
                <a:gd name="T21" fmla="*/ 51 h 162"/>
                <a:gd name="T22" fmla="*/ 129 w 131"/>
                <a:gd name="T23" fmla="*/ 68 h 162"/>
                <a:gd name="T24" fmla="*/ 123 w 131"/>
                <a:gd name="T25" fmla="*/ 81 h 162"/>
                <a:gd name="T26" fmla="*/ 113 w 131"/>
                <a:gd name="T27" fmla="*/ 92 h 162"/>
                <a:gd name="T28" fmla="*/ 100 w 131"/>
                <a:gd name="T29" fmla="*/ 99 h 162"/>
                <a:gd name="T30" fmla="*/ 131 w 131"/>
                <a:gd name="T31" fmla="*/ 162 h 162"/>
                <a:gd name="T32" fmla="*/ 94 w 131"/>
                <a:gd name="T33" fmla="*/ 162 h 162"/>
                <a:gd name="T34" fmla="*/ 98 w 131"/>
                <a:gd name="T35" fmla="*/ 52 h 162"/>
                <a:gd name="T36" fmla="*/ 96 w 131"/>
                <a:gd name="T37" fmla="*/ 42 h 162"/>
                <a:gd name="T38" fmla="*/ 91 w 131"/>
                <a:gd name="T39" fmla="*/ 36 h 162"/>
                <a:gd name="T40" fmla="*/ 84 w 131"/>
                <a:gd name="T41" fmla="*/ 32 h 162"/>
                <a:gd name="T42" fmla="*/ 75 w 131"/>
                <a:gd name="T43" fmla="*/ 31 h 162"/>
                <a:gd name="T44" fmla="*/ 32 w 131"/>
                <a:gd name="T45" fmla="*/ 31 h 162"/>
                <a:gd name="T46" fmla="*/ 32 w 131"/>
                <a:gd name="T47" fmla="*/ 73 h 162"/>
                <a:gd name="T48" fmla="*/ 75 w 131"/>
                <a:gd name="T49" fmla="*/ 73 h 162"/>
                <a:gd name="T50" fmla="*/ 85 w 131"/>
                <a:gd name="T51" fmla="*/ 72 h 162"/>
                <a:gd name="T52" fmla="*/ 92 w 131"/>
                <a:gd name="T53" fmla="*/ 67 h 162"/>
                <a:gd name="T54" fmla="*/ 96 w 131"/>
                <a:gd name="T55" fmla="*/ 61 h 162"/>
                <a:gd name="T56" fmla="*/ 98 w 131"/>
                <a:gd name="T57" fmla="*/ 5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 h="162">
                  <a:moveTo>
                    <a:pt x="94" y="162"/>
                  </a:moveTo>
                  <a:cubicBezTo>
                    <a:pt x="65" y="104"/>
                    <a:pt x="65" y="104"/>
                    <a:pt x="65" y="104"/>
                  </a:cubicBezTo>
                  <a:cubicBezTo>
                    <a:pt x="32" y="104"/>
                    <a:pt x="32" y="104"/>
                    <a:pt x="32" y="104"/>
                  </a:cubicBezTo>
                  <a:cubicBezTo>
                    <a:pt x="32" y="162"/>
                    <a:pt x="32" y="162"/>
                    <a:pt x="32" y="162"/>
                  </a:cubicBezTo>
                  <a:cubicBezTo>
                    <a:pt x="0" y="162"/>
                    <a:pt x="0" y="162"/>
                    <a:pt x="0" y="162"/>
                  </a:cubicBezTo>
                  <a:cubicBezTo>
                    <a:pt x="0" y="0"/>
                    <a:pt x="0" y="0"/>
                    <a:pt x="0" y="0"/>
                  </a:cubicBezTo>
                  <a:cubicBezTo>
                    <a:pt x="75" y="0"/>
                    <a:pt x="75" y="0"/>
                    <a:pt x="75" y="0"/>
                  </a:cubicBezTo>
                  <a:cubicBezTo>
                    <a:pt x="83" y="0"/>
                    <a:pt x="90" y="1"/>
                    <a:pt x="97" y="3"/>
                  </a:cubicBezTo>
                  <a:cubicBezTo>
                    <a:pt x="104" y="5"/>
                    <a:pt x="110" y="8"/>
                    <a:pt x="115" y="12"/>
                  </a:cubicBezTo>
                  <a:cubicBezTo>
                    <a:pt x="120" y="17"/>
                    <a:pt x="124" y="22"/>
                    <a:pt x="127" y="29"/>
                  </a:cubicBezTo>
                  <a:cubicBezTo>
                    <a:pt x="130" y="35"/>
                    <a:pt x="131" y="42"/>
                    <a:pt x="131" y="51"/>
                  </a:cubicBezTo>
                  <a:cubicBezTo>
                    <a:pt x="131" y="58"/>
                    <a:pt x="130" y="63"/>
                    <a:pt x="129" y="68"/>
                  </a:cubicBezTo>
                  <a:cubicBezTo>
                    <a:pt x="128" y="73"/>
                    <a:pt x="126" y="78"/>
                    <a:pt x="123" y="81"/>
                  </a:cubicBezTo>
                  <a:cubicBezTo>
                    <a:pt x="120" y="85"/>
                    <a:pt x="117" y="89"/>
                    <a:pt x="113" y="92"/>
                  </a:cubicBezTo>
                  <a:cubicBezTo>
                    <a:pt x="110" y="94"/>
                    <a:pt x="105" y="97"/>
                    <a:pt x="100" y="99"/>
                  </a:cubicBezTo>
                  <a:cubicBezTo>
                    <a:pt x="131" y="162"/>
                    <a:pt x="131" y="162"/>
                    <a:pt x="131" y="162"/>
                  </a:cubicBezTo>
                  <a:lnTo>
                    <a:pt x="94" y="162"/>
                  </a:lnTo>
                  <a:close/>
                  <a:moveTo>
                    <a:pt x="98" y="52"/>
                  </a:moveTo>
                  <a:cubicBezTo>
                    <a:pt x="98" y="48"/>
                    <a:pt x="97" y="45"/>
                    <a:pt x="96" y="42"/>
                  </a:cubicBezTo>
                  <a:cubicBezTo>
                    <a:pt x="95" y="39"/>
                    <a:pt x="93" y="37"/>
                    <a:pt x="91" y="36"/>
                  </a:cubicBezTo>
                  <a:cubicBezTo>
                    <a:pt x="89" y="34"/>
                    <a:pt x="86" y="33"/>
                    <a:pt x="84" y="32"/>
                  </a:cubicBezTo>
                  <a:cubicBezTo>
                    <a:pt x="81" y="32"/>
                    <a:pt x="78" y="31"/>
                    <a:pt x="75" y="31"/>
                  </a:cubicBezTo>
                  <a:cubicBezTo>
                    <a:pt x="32" y="31"/>
                    <a:pt x="32" y="31"/>
                    <a:pt x="32" y="31"/>
                  </a:cubicBezTo>
                  <a:cubicBezTo>
                    <a:pt x="32" y="73"/>
                    <a:pt x="32" y="73"/>
                    <a:pt x="32" y="73"/>
                  </a:cubicBezTo>
                  <a:cubicBezTo>
                    <a:pt x="75" y="73"/>
                    <a:pt x="75" y="73"/>
                    <a:pt x="75" y="73"/>
                  </a:cubicBezTo>
                  <a:cubicBezTo>
                    <a:pt x="79" y="73"/>
                    <a:pt x="82" y="72"/>
                    <a:pt x="85" y="72"/>
                  </a:cubicBezTo>
                  <a:cubicBezTo>
                    <a:pt x="88" y="71"/>
                    <a:pt x="90" y="69"/>
                    <a:pt x="92" y="67"/>
                  </a:cubicBezTo>
                  <a:cubicBezTo>
                    <a:pt x="94" y="66"/>
                    <a:pt x="95" y="64"/>
                    <a:pt x="96" y="61"/>
                  </a:cubicBezTo>
                  <a:cubicBezTo>
                    <a:pt x="97" y="58"/>
                    <a:pt x="98" y="55"/>
                    <a:pt x="98" y="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7" name="Freeform 35">
              <a:extLst>
                <a:ext uri="{FF2B5EF4-FFF2-40B4-BE49-F238E27FC236}">
                  <a16:creationId xmlns:a16="http://schemas.microsoft.com/office/drawing/2014/main" id="{B3BCF9E1-0026-4389-B268-FEF82FAE2561}"/>
                </a:ext>
              </a:extLst>
            </p:cNvPr>
            <p:cNvSpPr>
              <a:spLocks/>
            </p:cNvSpPr>
            <p:nvPr/>
          </p:nvSpPr>
          <p:spPr bwMode="invGray">
            <a:xfrm>
              <a:off x="11669468" y="970279"/>
              <a:ext cx="79757" cy="111137"/>
            </a:xfrm>
            <a:custGeom>
              <a:avLst/>
              <a:gdLst>
                <a:gd name="T0" fmla="*/ 61 w 61"/>
                <a:gd name="T1" fmla="*/ 85 h 85"/>
                <a:gd name="T2" fmla="*/ 0 w 61"/>
                <a:gd name="T3" fmla="*/ 85 h 85"/>
                <a:gd name="T4" fmla="*/ 0 w 61"/>
                <a:gd name="T5" fmla="*/ 0 h 85"/>
                <a:gd name="T6" fmla="*/ 59 w 61"/>
                <a:gd name="T7" fmla="*/ 0 h 85"/>
                <a:gd name="T8" fmla="*/ 59 w 61"/>
                <a:gd name="T9" fmla="*/ 16 h 85"/>
                <a:gd name="T10" fmla="*/ 18 w 61"/>
                <a:gd name="T11" fmla="*/ 16 h 85"/>
                <a:gd name="T12" fmla="*/ 18 w 61"/>
                <a:gd name="T13" fmla="*/ 31 h 85"/>
                <a:gd name="T14" fmla="*/ 52 w 61"/>
                <a:gd name="T15" fmla="*/ 31 h 85"/>
                <a:gd name="T16" fmla="*/ 52 w 61"/>
                <a:gd name="T17" fmla="*/ 48 h 85"/>
                <a:gd name="T18" fmla="*/ 18 w 61"/>
                <a:gd name="T19" fmla="*/ 48 h 85"/>
                <a:gd name="T20" fmla="*/ 18 w 61"/>
                <a:gd name="T21" fmla="*/ 68 h 85"/>
                <a:gd name="T22" fmla="*/ 61 w 61"/>
                <a:gd name="T23" fmla="*/ 68 h 85"/>
                <a:gd name="T24" fmla="*/ 61 w 61"/>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5">
                  <a:moveTo>
                    <a:pt x="61" y="85"/>
                  </a:moveTo>
                  <a:lnTo>
                    <a:pt x="0" y="85"/>
                  </a:lnTo>
                  <a:lnTo>
                    <a:pt x="0" y="0"/>
                  </a:lnTo>
                  <a:lnTo>
                    <a:pt x="59" y="0"/>
                  </a:lnTo>
                  <a:lnTo>
                    <a:pt x="59" y="16"/>
                  </a:lnTo>
                  <a:lnTo>
                    <a:pt x="18" y="16"/>
                  </a:lnTo>
                  <a:lnTo>
                    <a:pt x="18" y="31"/>
                  </a:lnTo>
                  <a:lnTo>
                    <a:pt x="52" y="31"/>
                  </a:lnTo>
                  <a:lnTo>
                    <a:pt x="52" y="48"/>
                  </a:lnTo>
                  <a:lnTo>
                    <a:pt x="18" y="48"/>
                  </a:lnTo>
                  <a:lnTo>
                    <a:pt x="18" y="68"/>
                  </a:lnTo>
                  <a:lnTo>
                    <a:pt x="61" y="68"/>
                  </a:lnTo>
                  <a:lnTo>
                    <a:pt x="6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8" name="Freeform 36">
              <a:extLst>
                <a:ext uri="{FF2B5EF4-FFF2-40B4-BE49-F238E27FC236}">
                  <a16:creationId xmlns:a16="http://schemas.microsoft.com/office/drawing/2014/main" id="{649F954E-57A5-4CCA-9CAB-F232FEBD5F36}"/>
                </a:ext>
              </a:extLst>
            </p:cNvPr>
            <p:cNvSpPr>
              <a:spLocks/>
            </p:cNvSpPr>
            <p:nvPr/>
          </p:nvSpPr>
          <p:spPr bwMode="invGray">
            <a:xfrm>
              <a:off x="9731769" y="1013426"/>
              <a:ext cx="261498" cy="366097"/>
            </a:xfrm>
            <a:custGeom>
              <a:avLst/>
              <a:gdLst>
                <a:gd name="T0" fmla="*/ 200 w 200"/>
                <a:gd name="T1" fmla="*/ 280 h 280"/>
                <a:gd name="T2" fmla="*/ 0 w 200"/>
                <a:gd name="T3" fmla="*/ 280 h 280"/>
                <a:gd name="T4" fmla="*/ 0 w 200"/>
                <a:gd name="T5" fmla="*/ 0 h 280"/>
                <a:gd name="T6" fmla="*/ 181 w 200"/>
                <a:gd name="T7" fmla="*/ 0 h 280"/>
                <a:gd name="T8" fmla="*/ 181 w 200"/>
                <a:gd name="T9" fmla="*/ 55 h 280"/>
                <a:gd name="T10" fmla="*/ 55 w 200"/>
                <a:gd name="T11" fmla="*/ 55 h 280"/>
                <a:gd name="T12" fmla="*/ 55 w 200"/>
                <a:gd name="T13" fmla="*/ 103 h 280"/>
                <a:gd name="T14" fmla="*/ 168 w 200"/>
                <a:gd name="T15" fmla="*/ 103 h 280"/>
                <a:gd name="T16" fmla="*/ 168 w 200"/>
                <a:gd name="T17" fmla="*/ 157 h 280"/>
                <a:gd name="T18" fmla="*/ 55 w 200"/>
                <a:gd name="T19" fmla="*/ 157 h 280"/>
                <a:gd name="T20" fmla="*/ 55 w 200"/>
                <a:gd name="T21" fmla="*/ 225 h 280"/>
                <a:gd name="T22" fmla="*/ 200 w 200"/>
                <a:gd name="T23" fmla="*/ 225 h 280"/>
                <a:gd name="T24" fmla="*/ 200 w 200"/>
                <a:gd name="T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80">
                  <a:moveTo>
                    <a:pt x="200" y="280"/>
                  </a:moveTo>
                  <a:lnTo>
                    <a:pt x="0" y="280"/>
                  </a:lnTo>
                  <a:lnTo>
                    <a:pt x="0" y="0"/>
                  </a:lnTo>
                  <a:lnTo>
                    <a:pt x="181" y="0"/>
                  </a:lnTo>
                  <a:lnTo>
                    <a:pt x="181" y="55"/>
                  </a:lnTo>
                  <a:lnTo>
                    <a:pt x="55" y="55"/>
                  </a:lnTo>
                  <a:lnTo>
                    <a:pt x="55" y="103"/>
                  </a:lnTo>
                  <a:lnTo>
                    <a:pt x="168" y="103"/>
                  </a:lnTo>
                  <a:lnTo>
                    <a:pt x="168" y="157"/>
                  </a:lnTo>
                  <a:lnTo>
                    <a:pt x="55" y="157"/>
                  </a:lnTo>
                  <a:lnTo>
                    <a:pt x="55" y="225"/>
                  </a:lnTo>
                  <a:lnTo>
                    <a:pt x="200" y="225"/>
                  </a:lnTo>
                  <a:lnTo>
                    <a:pt x="200" y="28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9" name="Freeform 37">
              <a:extLst>
                <a:ext uri="{FF2B5EF4-FFF2-40B4-BE49-F238E27FC236}">
                  <a16:creationId xmlns:a16="http://schemas.microsoft.com/office/drawing/2014/main" id="{6DE56CC7-4BD4-440A-97FD-A8FAEC415494}"/>
                </a:ext>
              </a:extLst>
            </p:cNvPr>
            <p:cNvSpPr>
              <a:spLocks/>
            </p:cNvSpPr>
            <p:nvPr/>
          </p:nvSpPr>
          <p:spPr bwMode="invGray">
            <a:xfrm>
              <a:off x="9981497" y="1013426"/>
              <a:ext cx="334717" cy="366097"/>
            </a:xfrm>
            <a:custGeom>
              <a:avLst/>
              <a:gdLst>
                <a:gd name="T0" fmla="*/ 256 w 256"/>
                <a:gd name="T1" fmla="*/ 0 h 280"/>
                <a:gd name="T2" fmla="*/ 156 w 256"/>
                <a:gd name="T3" fmla="*/ 157 h 280"/>
                <a:gd name="T4" fmla="*/ 156 w 256"/>
                <a:gd name="T5" fmla="*/ 280 h 280"/>
                <a:gd name="T6" fmla="*/ 100 w 256"/>
                <a:gd name="T7" fmla="*/ 280 h 280"/>
                <a:gd name="T8" fmla="*/ 100 w 256"/>
                <a:gd name="T9" fmla="*/ 159 h 280"/>
                <a:gd name="T10" fmla="*/ 0 w 256"/>
                <a:gd name="T11" fmla="*/ 0 h 280"/>
                <a:gd name="T12" fmla="*/ 64 w 256"/>
                <a:gd name="T13" fmla="*/ 0 h 280"/>
                <a:gd name="T14" fmla="*/ 128 w 256"/>
                <a:gd name="T15" fmla="*/ 106 h 280"/>
                <a:gd name="T16" fmla="*/ 192 w 256"/>
                <a:gd name="T17" fmla="*/ 0 h 280"/>
                <a:gd name="T18" fmla="*/ 256 w 256"/>
                <a:gd name="T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80">
                  <a:moveTo>
                    <a:pt x="256" y="0"/>
                  </a:moveTo>
                  <a:lnTo>
                    <a:pt x="156" y="157"/>
                  </a:lnTo>
                  <a:lnTo>
                    <a:pt x="156" y="280"/>
                  </a:lnTo>
                  <a:lnTo>
                    <a:pt x="100" y="280"/>
                  </a:lnTo>
                  <a:lnTo>
                    <a:pt x="100" y="159"/>
                  </a:lnTo>
                  <a:lnTo>
                    <a:pt x="0" y="0"/>
                  </a:lnTo>
                  <a:lnTo>
                    <a:pt x="64" y="0"/>
                  </a:lnTo>
                  <a:lnTo>
                    <a:pt x="128" y="106"/>
                  </a:lnTo>
                  <a:lnTo>
                    <a:pt x="192"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0" name="Freeform 38">
              <a:extLst>
                <a:ext uri="{FF2B5EF4-FFF2-40B4-BE49-F238E27FC236}">
                  <a16:creationId xmlns:a16="http://schemas.microsoft.com/office/drawing/2014/main" id="{658A3BBD-2F70-448C-911B-74A58B3D4525}"/>
                </a:ext>
              </a:extLst>
            </p:cNvPr>
            <p:cNvSpPr>
              <a:spLocks noEditPoints="1"/>
            </p:cNvSpPr>
            <p:nvPr/>
          </p:nvSpPr>
          <p:spPr bwMode="invGray">
            <a:xfrm>
              <a:off x="10199846" y="638177"/>
              <a:ext cx="1435622" cy="1039454"/>
            </a:xfrm>
            <a:custGeom>
              <a:avLst/>
              <a:gdLst>
                <a:gd name="T0" fmla="*/ 0 w 2104"/>
                <a:gd name="T1" fmla="*/ 293 h 1521"/>
                <a:gd name="T2" fmla="*/ 243 w 2104"/>
                <a:gd name="T3" fmla="*/ 139 h 1521"/>
                <a:gd name="T4" fmla="*/ 243 w 2104"/>
                <a:gd name="T5" fmla="*/ 191 h 1521"/>
                <a:gd name="T6" fmla="*/ 176 w 2104"/>
                <a:gd name="T7" fmla="*/ 1056 h 1521"/>
                <a:gd name="T8" fmla="*/ 279 w 2104"/>
                <a:gd name="T9" fmla="*/ 25 h 1521"/>
                <a:gd name="T10" fmla="*/ 1557 w 2104"/>
                <a:gd name="T11" fmla="*/ 1144 h 1521"/>
                <a:gd name="T12" fmla="*/ 1557 w 2104"/>
                <a:gd name="T13" fmla="*/ 1108 h 1521"/>
                <a:gd name="T14" fmla="*/ 1557 w 2104"/>
                <a:gd name="T15" fmla="*/ 1072 h 1521"/>
                <a:gd name="T16" fmla="*/ 1557 w 2104"/>
                <a:gd name="T17" fmla="*/ 1035 h 1521"/>
                <a:gd name="T18" fmla="*/ 1557 w 2104"/>
                <a:gd name="T19" fmla="*/ 1000 h 1521"/>
                <a:gd name="T20" fmla="*/ 1186 w 2104"/>
                <a:gd name="T21" fmla="*/ 465 h 1521"/>
                <a:gd name="T22" fmla="*/ 1915 w 2104"/>
                <a:gd name="T23" fmla="*/ 372 h 1521"/>
                <a:gd name="T24" fmla="*/ 1099 w 2104"/>
                <a:gd name="T25" fmla="*/ 499 h 1521"/>
                <a:gd name="T26" fmla="*/ 1977 w 2104"/>
                <a:gd name="T27" fmla="*/ 426 h 1521"/>
                <a:gd name="T28" fmla="*/ 1089 w 2104"/>
                <a:gd name="T29" fmla="*/ 421 h 1521"/>
                <a:gd name="T30" fmla="*/ 1565 w 2104"/>
                <a:gd name="T31" fmla="*/ 60 h 1521"/>
                <a:gd name="T32" fmla="*/ 1565 w 2104"/>
                <a:gd name="T33" fmla="*/ 24 h 1521"/>
                <a:gd name="T34" fmla="*/ 556 w 2104"/>
                <a:gd name="T35" fmla="*/ 485 h 1521"/>
                <a:gd name="T36" fmla="*/ 468 w 2104"/>
                <a:gd name="T37" fmla="*/ 41 h 1521"/>
                <a:gd name="T38" fmla="*/ 388 w 2104"/>
                <a:gd name="T39" fmla="*/ 106 h 1521"/>
                <a:gd name="T40" fmla="*/ 351 w 2104"/>
                <a:gd name="T41" fmla="*/ 760 h 1521"/>
                <a:gd name="T42" fmla="*/ 316 w 2104"/>
                <a:gd name="T43" fmla="*/ 70 h 1521"/>
                <a:gd name="T44" fmla="*/ 434 w 2104"/>
                <a:gd name="T45" fmla="*/ 1086 h 1521"/>
                <a:gd name="T46" fmla="*/ 885 w 2104"/>
                <a:gd name="T47" fmla="*/ 487 h 1521"/>
                <a:gd name="T48" fmla="*/ 885 w 2104"/>
                <a:gd name="T49" fmla="*/ 523 h 1521"/>
                <a:gd name="T50" fmla="*/ 568 w 2104"/>
                <a:gd name="T51" fmla="*/ 1056 h 1521"/>
                <a:gd name="T52" fmla="*/ 885 w 2104"/>
                <a:gd name="T53" fmla="*/ 559 h 1521"/>
                <a:gd name="T54" fmla="*/ 1089 w 2104"/>
                <a:gd name="T55" fmla="*/ 534 h 1521"/>
                <a:gd name="T56" fmla="*/ 1299 w 2104"/>
                <a:gd name="T57" fmla="*/ 996 h 1521"/>
                <a:gd name="T58" fmla="*/ 672 w 2104"/>
                <a:gd name="T59" fmla="*/ 1250 h 1521"/>
                <a:gd name="T60" fmla="*/ 894 w 2104"/>
                <a:gd name="T61" fmla="*/ 1377 h 1521"/>
                <a:gd name="T62" fmla="*/ 895 w 2104"/>
                <a:gd name="T63" fmla="*/ 1413 h 1521"/>
                <a:gd name="T64" fmla="*/ 619 w 2104"/>
                <a:gd name="T65" fmla="*/ 1361 h 1521"/>
                <a:gd name="T66" fmla="*/ 1382 w 2104"/>
                <a:gd name="T67" fmla="*/ 1152 h 1521"/>
                <a:gd name="T68" fmla="*/ 509 w 2104"/>
                <a:gd name="T69" fmla="*/ 1325 h 1521"/>
                <a:gd name="T70" fmla="*/ 1416 w 2104"/>
                <a:gd name="T71" fmla="*/ 1162 h 1521"/>
                <a:gd name="T72" fmla="*/ 2062 w 2104"/>
                <a:gd name="T73" fmla="*/ 711 h 1521"/>
                <a:gd name="T74" fmla="*/ 386 w 2104"/>
                <a:gd name="T75" fmla="*/ 950 h 1521"/>
                <a:gd name="T76" fmla="*/ 351 w 2104"/>
                <a:gd name="T77" fmla="*/ 968 h 1521"/>
                <a:gd name="T78" fmla="*/ 885 w 2104"/>
                <a:gd name="T79" fmla="*/ 415 h 1521"/>
                <a:gd name="T80" fmla="*/ 1162 w 2104"/>
                <a:gd name="T81" fmla="*/ 535 h 1521"/>
                <a:gd name="T82" fmla="*/ 1420 w 2104"/>
                <a:gd name="T83" fmla="*/ 978 h 1521"/>
                <a:gd name="T84" fmla="*/ 1162 w 2104"/>
                <a:gd name="T85" fmla="*/ 535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4" h="1521">
                  <a:moveTo>
                    <a:pt x="268" y="12"/>
                  </a:moveTo>
                  <a:cubicBezTo>
                    <a:pt x="259" y="12"/>
                    <a:pt x="252" y="20"/>
                    <a:pt x="246" y="26"/>
                  </a:cubicBezTo>
                  <a:cubicBezTo>
                    <a:pt x="0" y="293"/>
                    <a:pt x="0" y="293"/>
                    <a:pt x="0" y="293"/>
                  </a:cubicBezTo>
                  <a:cubicBezTo>
                    <a:pt x="4" y="303"/>
                    <a:pt x="25" y="320"/>
                    <a:pt x="51" y="291"/>
                  </a:cubicBezTo>
                  <a:cubicBezTo>
                    <a:pt x="66" y="276"/>
                    <a:pt x="243" y="80"/>
                    <a:pt x="243" y="80"/>
                  </a:cubicBezTo>
                  <a:cubicBezTo>
                    <a:pt x="243" y="139"/>
                    <a:pt x="243" y="139"/>
                    <a:pt x="243" y="139"/>
                  </a:cubicBezTo>
                  <a:cubicBezTo>
                    <a:pt x="227" y="157"/>
                    <a:pt x="76" y="322"/>
                    <a:pt x="60" y="338"/>
                  </a:cubicBezTo>
                  <a:cubicBezTo>
                    <a:pt x="38" y="360"/>
                    <a:pt x="46" y="383"/>
                    <a:pt x="59" y="392"/>
                  </a:cubicBezTo>
                  <a:cubicBezTo>
                    <a:pt x="243" y="191"/>
                    <a:pt x="243" y="191"/>
                    <a:pt x="243" y="191"/>
                  </a:cubicBezTo>
                  <a:cubicBezTo>
                    <a:pt x="243" y="983"/>
                    <a:pt x="243" y="983"/>
                    <a:pt x="243" y="983"/>
                  </a:cubicBezTo>
                  <a:cubicBezTo>
                    <a:pt x="243" y="1029"/>
                    <a:pt x="228" y="1059"/>
                    <a:pt x="200" y="1059"/>
                  </a:cubicBezTo>
                  <a:cubicBezTo>
                    <a:pt x="187" y="1059"/>
                    <a:pt x="181" y="1057"/>
                    <a:pt x="176" y="1056"/>
                  </a:cubicBezTo>
                  <a:cubicBezTo>
                    <a:pt x="170" y="1070"/>
                    <a:pt x="180" y="1090"/>
                    <a:pt x="208" y="1090"/>
                  </a:cubicBezTo>
                  <a:cubicBezTo>
                    <a:pt x="268" y="1090"/>
                    <a:pt x="279" y="1027"/>
                    <a:pt x="279" y="983"/>
                  </a:cubicBezTo>
                  <a:cubicBezTo>
                    <a:pt x="279" y="25"/>
                    <a:pt x="279" y="25"/>
                    <a:pt x="279" y="25"/>
                  </a:cubicBezTo>
                  <a:cubicBezTo>
                    <a:pt x="279" y="18"/>
                    <a:pt x="275" y="12"/>
                    <a:pt x="268" y="12"/>
                  </a:cubicBezTo>
                  <a:close/>
                  <a:moveTo>
                    <a:pt x="2062" y="711"/>
                  </a:moveTo>
                  <a:cubicBezTo>
                    <a:pt x="2072" y="820"/>
                    <a:pt x="1941" y="1144"/>
                    <a:pt x="1557" y="1144"/>
                  </a:cubicBezTo>
                  <a:cubicBezTo>
                    <a:pt x="1472" y="1144"/>
                    <a:pt x="1403" y="1124"/>
                    <a:pt x="1361" y="1105"/>
                  </a:cubicBezTo>
                  <a:cubicBezTo>
                    <a:pt x="1364" y="1094"/>
                    <a:pt x="1367" y="1083"/>
                    <a:pt x="1370" y="1072"/>
                  </a:cubicBezTo>
                  <a:cubicBezTo>
                    <a:pt x="1423" y="1094"/>
                    <a:pt x="1482" y="1108"/>
                    <a:pt x="1557" y="1108"/>
                  </a:cubicBezTo>
                  <a:cubicBezTo>
                    <a:pt x="1871" y="1108"/>
                    <a:pt x="1988" y="879"/>
                    <a:pt x="2010" y="795"/>
                  </a:cubicBezTo>
                  <a:cubicBezTo>
                    <a:pt x="2025" y="742"/>
                    <a:pt x="2018" y="711"/>
                    <a:pt x="1981" y="711"/>
                  </a:cubicBezTo>
                  <a:cubicBezTo>
                    <a:pt x="1994" y="785"/>
                    <a:pt x="1899" y="1072"/>
                    <a:pt x="1557" y="1072"/>
                  </a:cubicBezTo>
                  <a:cubicBezTo>
                    <a:pt x="1490" y="1072"/>
                    <a:pt x="1431" y="1059"/>
                    <a:pt x="1377" y="1037"/>
                  </a:cubicBezTo>
                  <a:cubicBezTo>
                    <a:pt x="1379" y="1026"/>
                    <a:pt x="1380" y="1014"/>
                    <a:pt x="1382" y="1003"/>
                  </a:cubicBezTo>
                  <a:cubicBezTo>
                    <a:pt x="1420" y="1018"/>
                    <a:pt x="1479" y="1035"/>
                    <a:pt x="1557" y="1035"/>
                  </a:cubicBezTo>
                  <a:cubicBezTo>
                    <a:pt x="1794" y="1035"/>
                    <a:pt x="1908" y="877"/>
                    <a:pt x="1932" y="781"/>
                  </a:cubicBezTo>
                  <a:cubicBezTo>
                    <a:pt x="1943" y="739"/>
                    <a:pt x="1936" y="711"/>
                    <a:pt x="1902" y="711"/>
                  </a:cubicBezTo>
                  <a:cubicBezTo>
                    <a:pt x="1910" y="784"/>
                    <a:pt x="1826" y="1000"/>
                    <a:pt x="1557" y="1000"/>
                  </a:cubicBezTo>
                  <a:cubicBezTo>
                    <a:pt x="1519" y="1000"/>
                    <a:pt x="1484" y="995"/>
                    <a:pt x="1455" y="988"/>
                  </a:cubicBezTo>
                  <a:cubicBezTo>
                    <a:pt x="1456" y="975"/>
                    <a:pt x="1456" y="960"/>
                    <a:pt x="1456" y="950"/>
                  </a:cubicBezTo>
                  <a:cubicBezTo>
                    <a:pt x="1456" y="749"/>
                    <a:pt x="1351" y="567"/>
                    <a:pt x="1186" y="465"/>
                  </a:cubicBezTo>
                  <a:cubicBezTo>
                    <a:pt x="1249" y="318"/>
                    <a:pt x="1390" y="204"/>
                    <a:pt x="1565" y="204"/>
                  </a:cubicBezTo>
                  <a:cubicBezTo>
                    <a:pt x="1787" y="204"/>
                    <a:pt x="1886" y="374"/>
                    <a:pt x="1896" y="426"/>
                  </a:cubicBezTo>
                  <a:cubicBezTo>
                    <a:pt x="1919" y="426"/>
                    <a:pt x="1925" y="395"/>
                    <a:pt x="1915" y="372"/>
                  </a:cubicBezTo>
                  <a:cubicBezTo>
                    <a:pt x="1892" y="314"/>
                    <a:pt x="1782" y="169"/>
                    <a:pt x="1565" y="169"/>
                  </a:cubicBezTo>
                  <a:cubicBezTo>
                    <a:pt x="1348" y="169"/>
                    <a:pt x="1187" y="321"/>
                    <a:pt x="1131" y="516"/>
                  </a:cubicBezTo>
                  <a:cubicBezTo>
                    <a:pt x="1121" y="510"/>
                    <a:pt x="1110" y="504"/>
                    <a:pt x="1099" y="499"/>
                  </a:cubicBezTo>
                  <a:cubicBezTo>
                    <a:pt x="1107" y="476"/>
                    <a:pt x="1114" y="453"/>
                    <a:pt x="1122" y="434"/>
                  </a:cubicBezTo>
                  <a:cubicBezTo>
                    <a:pt x="1192" y="257"/>
                    <a:pt x="1361" y="132"/>
                    <a:pt x="1565" y="132"/>
                  </a:cubicBezTo>
                  <a:cubicBezTo>
                    <a:pt x="1836" y="132"/>
                    <a:pt x="1966" y="343"/>
                    <a:pt x="1977" y="426"/>
                  </a:cubicBezTo>
                  <a:cubicBezTo>
                    <a:pt x="1997" y="426"/>
                    <a:pt x="2012" y="403"/>
                    <a:pt x="2003" y="378"/>
                  </a:cubicBezTo>
                  <a:cubicBezTo>
                    <a:pt x="1975" y="301"/>
                    <a:pt x="1856" y="96"/>
                    <a:pt x="1565" y="96"/>
                  </a:cubicBezTo>
                  <a:cubicBezTo>
                    <a:pt x="1346" y="96"/>
                    <a:pt x="1164" y="231"/>
                    <a:pt x="1089" y="421"/>
                  </a:cubicBezTo>
                  <a:cubicBezTo>
                    <a:pt x="1082" y="437"/>
                    <a:pt x="1074" y="460"/>
                    <a:pt x="1066" y="485"/>
                  </a:cubicBezTo>
                  <a:cubicBezTo>
                    <a:pt x="1056" y="481"/>
                    <a:pt x="1046" y="477"/>
                    <a:pt x="1036" y="474"/>
                  </a:cubicBezTo>
                  <a:cubicBezTo>
                    <a:pt x="1086" y="263"/>
                    <a:pt x="1283" y="60"/>
                    <a:pt x="1565" y="60"/>
                  </a:cubicBezTo>
                  <a:cubicBezTo>
                    <a:pt x="1936" y="60"/>
                    <a:pt x="2057" y="372"/>
                    <a:pt x="2058" y="426"/>
                  </a:cubicBezTo>
                  <a:cubicBezTo>
                    <a:pt x="2084" y="426"/>
                    <a:pt x="2093" y="398"/>
                    <a:pt x="2085" y="372"/>
                  </a:cubicBezTo>
                  <a:cubicBezTo>
                    <a:pt x="2058" y="289"/>
                    <a:pt x="1922" y="24"/>
                    <a:pt x="1565" y="24"/>
                  </a:cubicBezTo>
                  <a:cubicBezTo>
                    <a:pt x="1298" y="24"/>
                    <a:pt x="1105" y="187"/>
                    <a:pt x="1024" y="396"/>
                  </a:cubicBezTo>
                  <a:cubicBezTo>
                    <a:pt x="979" y="385"/>
                    <a:pt x="932" y="379"/>
                    <a:pt x="885" y="379"/>
                  </a:cubicBezTo>
                  <a:cubicBezTo>
                    <a:pt x="766" y="379"/>
                    <a:pt x="653" y="416"/>
                    <a:pt x="556" y="485"/>
                  </a:cubicBezTo>
                  <a:cubicBezTo>
                    <a:pt x="505" y="522"/>
                    <a:pt x="460" y="566"/>
                    <a:pt x="424" y="616"/>
                  </a:cubicBezTo>
                  <a:cubicBezTo>
                    <a:pt x="424" y="106"/>
                    <a:pt x="424" y="106"/>
                    <a:pt x="424" y="106"/>
                  </a:cubicBezTo>
                  <a:cubicBezTo>
                    <a:pt x="424" y="60"/>
                    <a:pt x="439" y="41"/>
                    <a:pt x="468" y="41"/>
                  </a:cubicBezTo>
                  <a:cubicBezTo>
                    <a:pt x="480" y="41"/>
                    <a:pt x="486" y="43"/>
                    <a:pt x="491" y="44"/>
                  </a:cubicBezTo>
                  <a:cubicBezTo>
                    <a:pt x="497" y="30"/>
                    <a:pt x="487" y="10"/>
                    <a:pt x="459" y="10"/>
                  </a:cubicBezTo>
                  <a:cubicBezTo>
                    <a:pt x="399" y="10"/>
                    <a:pt x="388" y="62"/>
                    <a:pt x="388" y="106"/>
                  </a:cubicBezTo>
                  <a:cubicBezTo>
                    <a:pt x="388" y="106"/>
                    <a:pt x="388" y="518"/>
                    <a:pt x="388" y="672"/>
                  </a:cubicBezTo>
                  <a:cubicBezTo>
                    <a:pt x="388" y="673"/>
                    <a:pt x="387" y="674"/>
                    <a:pt x="387" y="675"/>
                  </a:cubicBezTo>
                  <a:cubicBezTo>
                    <a:pt x="377" y="692"/>
                    <a:pt x="362" y="729"/>
                    <a:pt x="351" y="760"/>
                  </a:cubicBezTo>
                  <a:cubicBezTo>
                    <a:pt x="351" y="84"/>
                    <a:pt x="351" y="84"/>
                    <a:pt x="351" y="84"/>
                  </a:cubicBezTo>
                  <a:cubicBezTo>
                    <a:pt x="351" y="41"/>
                    <a:pt x="361" y="26"/>
                    <a:pt x="369" y="19"/>
                  </a:cubicBezTo>
                  <a:cubicBezTo>
                    <a:pt x="365" y="5"/>
                    <a:pt x="316" y="0"/>
                    <a:pt x="316" y="70"/>
                  </a:cubicBezTo>
                  <a:cubicBezTo>
                    <a:pt x="316" y="103"/>
                    <a:pt x="316" y="984"/>
                    <a:pt x="316" y="984"/>
                  </a:cubicBezTo>
                  <a:cubicBezTo>
                    <a:pt x="316" y="1060"/>
                    <a:pt x="351" y="1091"/>
                    <a:pt x="389" y="1091"/>
                  </a:cubicBezTo>
                  <a:cubicBezTo>
                    <a:pt x="405" y="1091"/>
                    <a:pt x="422" y="1088"/>
                    <a:pt x="434" y="1086"/>
                  </a:cubicBezTo>
                  <a:cubicBezTo>
                    <a:pt x="440" y="1084"/>
                    <a:pt x="444" y="1077"/>
                    <a:pt x="442" y="1071"/>
                  </a:cubicBezTo>
                  <a:cubicBezTo>
                    <a:pt x="430" y="1040"/>
                    <a:pt x="422" y="998"/>
                    <a:pt x="422" y="950"/>
                  </a:cubicBezTo>
                  <a:cubicBezTo>
                    <a:pt x="422" y="694"/>
                    <a:pt x="630" y="487"/>
                    <a:pt x="885" y="487"/>
                  </a:cubicBezTo>
                  <a:cubicBezTo>
                    <a:pt x="946" y="487"/>
                    <a:pt x="1003" y="498"/>
                    <a:pt x="1057" y="519"/>
                  </a:cubicBezTo>
                  <a:cubicBezTo>
                    <a:pt x="1053" y="530"/>
                    <a:pt x="1051" y="542"/>
                    <a:pt x="1048" y="553"/>
                  </a:cubicBezTo>
                  <a:cubicBezTo>
                    <a:pt x="1008" y="537"/>
                    <a:pt x="955" y="523"/>
                    <a:pt x="885" y="523"/>
                  </a:cubicBezTo>
                  <a:cubicBezTo>
                    <a:pt x="650" y="523"/>
                    <a:pt x="458" y="715"/>
                    <a:pt x="458" y="950"/>
                  </a:cubicBezTo>
                  <a:cubicBezTo>
                    <a:pt x="458" y="1011"/>
                    <a:pt x="475" y="1090"/>
                    <a:pt x="535" y="1090"/>
                  </a:cubicBezTo>
                  <a:cubicBezTo>
                    <a:pt x="564" y="1090"/>
                    <a:pt x="574" y="1070"/>
                    <a:pt x="568" y="1056"/>
                  </a:cubicBezTo>
                  <a:cubicBezTo>
                    <a:pt x="562" y="1057"/>
                    <a:pt x="556" y="1059"/>
                    <a:pt x="544" y="1059"/>
                  </a:cubicBezTo>
                  <a:cubicBezTo>
                    <a:pt x="516" y="1059"/>
                    <a:pt x="494" y="1021"/>
                    <a:pt x="494" y="950"/>
                  </a:cubicBezTo>
                  <a:cubicBezTo>
                    <a:pt x="494" y="734"/>
                    <a:pt x="669" y="559"/>
                    <a:pt x="885" y="559"/>
                  </a:cubicBezTo>
                  <a:cubicBezTo>
                    <a:pt x="959" y="559"/>
                    <a:pt x="1016" y="577"/>
                    <a:pt x="1056" y="597"/>
                  </a:cubicBezTo>
                  <a:cubicBezTo>
                    <a:pt x="1065" y="601"/>
                    <a:pt x="1075" y="595"/>
                    <a:pt x="1077" y="585"/>
                  </a:cubicBezTo>
                  <a:cubicBezTo>
                    <a:pt x="1079" y="571"/>
                    <a:pt x="1084" y="553"/>
                    <a:pt x="1089" y="534"/>
                  </a:cubicBezTo>
                  <a:cubicBezTo>
                    <a:pt x="1243" y="609"/>
                    <a:pt x="1349" y="768"/>
                    <a:pt x="1349" y="950"/>
                  </a:cubicBezTo>
                  <a:cubicBezTo>
                    <a:pt x="1349" y="974"/>
                    <a:pt x="1347" y="998"/>
                    <a:pt x="1343" y="1021"/>
                  </a:cubicBezTo>
                  <a:cubicBezTo>
                    <a:pt x="1328" y="1014"/>
                    <a:pt x="1314" y="1005"/>
                    <a:pt x="1299" y="996"/>
                  </a:cubicBezTo>
                  <a:cubicBezTo>
                    <a:pt x="1283" y="987"/>
                    <a:pt x="1274" y="994"/>
                    <a:pt x="1272" y="1009"/>
                  </a:cubicBezTo>
                  <a:cubicBezTo>
                    <a:pt x="1244" y="1200"/>
                    <a:pt x="1086" y="1341"/>
                    <a:pt x="894" y="1341"/>
                  </a:cubicBezTo>
                  <a:cubicBezTo>
                    <a:pt x="763" y="1341"/>
                    <a:pt x="691" y="1290"/>
                    <a:pt x="672" y="1250"/>
                  </a:cubicBezTo>
                  <a:cubicBezTo>
                    <a:pt x="662" y="1253"/>
                    <a:pt x="654" y="1262"/>
                    <a:pt x="654" y="1276"/>
                  </a:cubicBezTo>
                  <a:cubicBezTo>
                    <a:pt x="654" y="1300"/>
                    <a:pt x="694" y="1327"/>
                    <a:pt x="721" y="1340"/>
                  </a:cubicBezTo>
                  <a:cubicBezTo>
                    <a:pt x="761" y="1360"/>
                    <a:pt x="815" y="1377"/>
                    <a:pt x="894" y="1377"/>
                  </a:cubicBezTo>
                  <a:cubicBezTo>
                    <a:pt x="1095" y="1377"/>
                    <a:pt x="1261" y="1235"/>
                    <a:pt x="1303" y="1040"/>
                  </a:cubicBezTo>
                  <a:cubicBezTo>
                    <a:pt x="1314" y="1046"/>
                    <a:pt x="1325" y="1052"/>
                    <a:pt x="1337" y="1058"/>
                  </a:cubicBezTo>
                  <a:cubicBezTo>
                    <a:pt x="1290" y="1261"/>
                    <a:pt x="1113" y="1413"/>
                    <a:pt x="895" y="1413"/>
                  </a:cubicBezTo>
                  <a:cubicBezTo>
                    <a:pt x="713" y="1413"/>
                    <a:pt x="621" y="1325"/>
                    <a:pt x="616" y="1296"/>
                  </a:cubicBezTo>
                  <a:cubicBezTo>
                    <a:pt x="602" y="1296"/>
                    <a:pt x="594" y="1307"/>
                    <a:pt x="594" y="1320"/>
                  </a:cubicBezTo>
                  <a:cubicBezTo>
                    <a:pt x="594" y="1335"/>
                    <a:pt x="606" y="1350"/>
                    <a:pt x="619" y="1361"/>
                  </a:cubicBezTo>
                  <a:cubicBezTo>
                    <a:pt x="653" y="1392"/>
                    <a:pt x="738" y="1449"/>
                    <a:pt x="895" y="1449"/>
                  </a:cubicBezTo>
                  <a:cubicBezTo>
                    <a:pt x="1103" y="1449"/>
                    <a:pt x="1277" y="1320"/>
                    <a:pt x="1349" y="1138"/>
                  </a:cubicBezTo>
                  <a:cubicBezTo>
                    <a:pt x="1359" y="1143"/>
                    <a:pt x="1371" y="1147"/>
                    <a:pt x="1382" y="1152"/>
                  </a:cubicBezTo>
                  <a:cubicBezTo>
                    <a:pt x="1304" y="1348"/>
                    <a:pt x="1116" y="1485"/>
                    <a:pt x="894" y="1485"/>
                  </a:cubicBezTo>
                  <a:cubicBezTo>
                    <a:pt x="688" y="1485"/>
                    <a:pt x="549" y="1379"/>
                    <a:pt x="534" y="1297"/>
                  </a:cubicBezTo>
                  <a:cubicBezTo>
                    <a:pt x="522" y="1297"/>
                    <a:pt x="509" y="1308"/>
                    <a:pt x="509" y="1325"/>
                  </a:cubicBezTo>
                  <a:cubicBezTo>
                    <a:pt x="509" y="1338"/>
                    <a:pt x="520" y="1357"/>
                    <a:pt x="523" y="1362"/>
                  </a:cubicBezTo>
                  <a:cubicBezTo>
                    <a:pt x="554" y="1410"/>
                    <a:pt x="665" y="1521"/>
                    <a:pt x="894" y="1521"/>
                  </a:cubicBezTo>
                  <a:cubicBezTo>
                    <a:pt x="1132" y="1521"/>
                    <a:pt x="1334" y="1373"/>
                    <a:pt x="1416" y="1162"/>
                  </a:cubicBezTo>
                  <a:cubicBezTo>
                    <a:pt x="1455" y="1173"/>
                    <a:pt x="1501" y="1179"/>
                    <a:pt x="1557" y="1179"/>
                  </a:cubicBezTo>
                  <a:cubicBezTo>
                    <a:pt x="1928" y="1179"/>
                    <a:pt x="2065" y="901"/>
                    <a:pt x="2089" y="800"/>
                  </a:cubicBezTo>
                  <a:cubicBezTo>
                    <a:pt x="2104" y="734"/>
                    <a:pt x="2096" y="711"/>
                    <a:pt x="2062" y="711"/>
                  </a:cubicBezTo>
                  <a:close/>
                  <a:moveTo>
                    <a:pt x="1002" y="465"/>
                  </a:moveTo>
                  <a:cubicBezTo>
                    <a:pt x="964" y="456"/>
                    <a:pt x="925" y="451"/>
                    <a:pt x="885" y="451"/>
                  </a:cubicBezTo>
                  <a:cubicBezTo>
                    <a:pt x="610" y="451"/>
                    <a:pt x="386" y="675"/>
                    <a:pt x="386" y="950"/>
                  </a:cubicBezTo>
                  <a:cubicBezTo>
                    <a:pt x="386" y="982"/>
                    <a:pt x="388" y="1021"/>
                    <a:pt x="400" y="1055"/>
                  </a:cubicBezTo>
                  <a:cubicBezTo>
                    <a:pt x="364" y="1065"/>
                    <a:pt x="351" y="1028"/>
                    <a:pt x="351" y="984"/>
                  </a:cubicBezTo>
                  <a:cubicBezTo>
                    <a:pt x="351" y="984"/>
                    <a:pt x="351" y="979"/>
                    <a:pt x="351" y="968"/>
                  </a:cubicBezTo>
                  <a:cubicBezTo>
                    <a:pt x="354" y="837"/>
                    <a:pt x="385" y="763"/>
                    <a:pt x="385" y="763"/>
                  </a:cubicBezTo>
                  <a:cubicBezTo>
                    <a:pt x="422" y="661"/>
                    <a:pt x="490" y="577"/>
                    <a:pt x="577" y="514"/>
                  </a:cubicBezTo>
                  <a:cubicBezTo>
                    <a:pt x="667" y="449"/>
                    <a:pt x="774" y="415"/>
                    <a:pt x="885" y="415"/>
                  </a:cubicBezTo>
                  <a:cubicBezTo>
                    <a:pt x="928" y="415"/>
                    <a:pt x="971" y="420"/>
                    <a:pt x="1012" y="430"/>
                  </a:cubicBezTo>
                  <a:cubicBezTo>
                    <a:pt x="1008" y="441"/>
                    <a:pt x="1005" y="453"/>
                    <a:pt x="1002" y="465"/>
                  </a:cubicBezTo>
                  <a:close/>
                  <a:moveTo>
                    <a:pt x="1162" y="535"/>
                  </a:moveTo>
                  <a:cubicBezTo>
                    <a:pt x="1166" y="523"/>
                    <a:pt x="1169" y="511"/>
                    <a:pt x="1173" y="499"/>
                  </a:cubicBezTo>
                  <a:cubicBezTo>
                    <a:pt x="1324" y="595"/>
                    <a:pt x="1421" y="764"/>
                    <a:pt x="1421" y="950"/>
                  </a:cubicBezTo>
                  <a:cubicBezTo>
                    <a:pt x="1421" y="959"/>
                    <a:pt x="1420" y="968"/>
                    <a:pt x="1420" y="978"/>
                  </a:cubicBezTo>
                  <a:cubicBezTo>
                    <a:pt x="1406" y="973"/>
                    <a:pt x="1394" y="969"/>
                    <a:pt x="1384" y="964"/>
                  </a:cubicBezTo>
                  <a:cubicBezTo>
                    <a:pt x="1384" y="960"/>
                    <a:pt x="1384" y="955"/>
                    <a:pt x="1384" y="950"/>
                  </a:cubicBezTo>
                  <a:cubicBezTo>
                    <a:pt x="1384" y="777"/>
                    <a:pt x="1296" y="625"/>
                    <a:pt x="1162" y="5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15:guide id="1" pos="674" userDrawn="1">
          <p15:clr>
            <a:srgbClr val="FBAE40"/>
          </p15:clr>
        </p15:guide>
        <p15:guide id="2" orient="horz" pos="1350" userDrawn="1">
          <p15:clr>
            <a:srgbClr val="FBAE40"/>
          </p15:clr>
        </p15:guide>
        <p15:guide id="3" orient="horz" pos="201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5_Cover_approved_question_tall_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287144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5"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8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622940" y="5826612"/>
            <a:ext cx="3878023" cy="570195"/>
            <a:chOff x="498115" y="5951018"/>
            <a:chExt cx="3878023" cy="570195"/>
          </a:xfrm>
          <a:solidFill>
            <a:srgbClr val="FFFFFF"/>
          </a:solidFill>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bwMode="gray">
          <a:xfrm>
            <a:off x="1069705" y="2158329"/>
            <a:ext cx="4020820"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noProof="0" dirty="0"/>
              <a:t>Click to edit Master title style</a:t>
            </a:r>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bwMode="gray">
          <a:xfrm>
            <a:off x="1069897" y="3200329"/>
            <a:ext cx="4020628" cy="645742"/>
          </a:xfrm>
          <a:prstGeom prst="rect">
            <a:avLst/>
          </a:prstGeom>
        </p:spPr>
        <p:txBody>
          <a:bodyPr>
            <a:noAutofit/>
          </a:bodyPr>
          <a:lstStyle>
            <a:lvl1pPr marL="0" indent="0" algn="l">
              <a:buNone/>
              <a:defRPr sz="2000">
                <a:solidFill>
                  <a:srgbClr val="FFFFFF"/>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4191"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US" noProof="0"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7"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8"/>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grpSp>
        <p:nvGrpSpPr>
          <p:cNvPr id="86" name="Gruppieren 85"/>
          <p:cNvGrpSpPr/>
          <p:nvPr userDrawn="1"/>
        </p:nvGrpSpPr>
        <p:grpSpPr bwMode="white">
          <a:xfrm>
            <a:off x="9713775" y="440057"/>
            <a:ext cx="1868402" cy="962657"/>
            <a:chOff x="9731769" y="638177"/>
            <a:chExt cx="2017456" cy="1039454"/>
          </a:xfrm>
        </p:grpSpPr>
        <p:sp>
          <p:nvSpPr>
            <p:cNvPr id="88" name="Freeform 5">
              <a:extLst>
                <a:ext uri="{FF2B5EF4-FFF2-40B4-BE49-F238E27FC236}">
                  <a16:creationId xmlns:a16="http://schemas.microsoft.com/office/drawing/2014/main" id="{8A9BDB58-231B-4B70-8059-20CAA94E9F64}"/>
                </a:ext>
              </a:extLst>
            </p:cNvPr>
            <p:cNvSpPr>
              <a:spLocks noEditPoints="1"/>
            </p:cNvSpPr>
            <p:nvPr/>
          </p:nvSpPr>
          <p:spPr bwMode="white">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6">
              <a:extLst>
                <a:ext uri="{FF2B5EF4-FFF2-40B4-BE49-F238E27FC236}">
                  <a16:creationId xmlns:a16="http://schemas.microsoft.com/office/drawing/2014/main" id="{97DAE07B-DE87-4358-BA44-6531EF3573CD}"/>
                </a:ext>
              </a:extLst>
            </p:cNvPr>
            <p:cNvSpPr>
              <a:spLocks/>
            </p:cNvSpPr>
            <p:nvPr/>
          </p:nvSpPr>
          <p:spPr bwMode="white">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0" name="Freeform 7">
              <a:extLst>
                <a:ext uri="{FF2B5EF4-FFF2-40B4-BE49-F238E27FC236}">
                  <a16:creationId xmlns:a16="http://schemas.microsoft.com/office/drawing/2014/main" id="{39829C97-B9FD-4508-8651-C460629865A1}"/>
                </a:ext>
              </a:extLst>
            </p:cNvPr>
            <p:cNvSpPr>
              <a:spLocks noEditPoints="1"/>
            </p:cNvSpPr>
            <p:nvPr/>
          </p:nvSpPr>
          <p:spPr bwMode="white">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1" name="Freeform 8">
              <a:extLst>
                <a:ext uri="{FF2B5EF4-FFF2-40B4-BE49-F238E27FC236}">
                  <a16:creationId xmlns:a16="http://schemas.microsoft.com/office/drawing/2014/main" id="{E6E8D961-2633-4DD4-9603-DC987B33CBF8}"/>
                </a:ext>
              </a:extLst>
            </p:cNvPr>
            <p:cNvSpPr>
              <a:spLocks noEditPoints="1"/>
            </p:cNvSpPr>
            <p:nvPr/>
          </p:nvSpPr>
          <p:spPr bwMode="white">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2" name="Freeform 9">
              <a:extLst>
                <a:ext uri="{FF2B5EF4-FFF2-40B4-BE49-F238E27FC236}">
                  <a16:creationId xmlns:a16="http://schemas.microsoft.com/office/drawing/2014/main" id="{F4A1F26E-26EA-44D8-8D11-97229CEC2530}"/>
                </a:ext>
              </a:extLst>
            </p:cNvPr>
            <p:cNvSpPr>
              <a:spLocks/>
            </p:cNvSpPr>
            <p:nvPr/>
          </p:nvSpPr>
          <p:spPr bwMode="white">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3" name="Freeform 10">
              <a:extLst>
                <a:ext uri="{FF2B5EF4-FFF2-40B4-BE49-F238E27FC236}">
                  <a16:creationId xmlns:a16="http://schemas.microsoft.com/office/drawing/2014/main" id="{45C1803D-4651-4E80-B712-F3F311657C4D}"/>
                </a:ext>
              </a:extLst>
            </p:cNvPr>
            <p:cNvSpPr>
              <a:spLocks/>
            </p:cNvSpPr>
            <p:nvPr/>
          </p:nvSpPr>
          <p:spPr bwMode="white">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4" name="Freeform 11">
              <a:extLst>
                <a:ext uri="{FF2B5EF4-FFF2-40B4-BE49-F238E27FC236}">
                  <a16:creationId xmlns:a16="http://schemas.microsoft.com/office/drawing/2014/main" id="{711CC3A8-EDFC-4EAE-A2DC-ACDC3B1D9DEB}"/>
                </a:ext>
              </a:extLst>
            </p:cNvPr>
            <p:cNvSpPr>
              <a:spLocks/>
            </p:cNvSpPr>
            <p:nvPr/>
          </p:nvSpPr>
          <p:spPr bwMode="white">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5" name="Freeform 12">
              <a:extLst>
                <a:ext uri="{FF2B5EF4-FFF2-40B4-BE49-F238E27FC236}">
                  <a16:creationId xmlns:a16="http://schemas.microsoft.com/office/drawing/2014/main" id="{C17A032D-DB72-46B0-B4C8-EE8C8CC504F2}"/>
                </a:ext>
              </a:extLst>
            </p:cNvPr>
            <p:cNvSpPr>
              <a:spLocks/>
            </p:cNvSpPr>
            <p:nvPr/>
          </p:nvSpPr>
          <p:spPr bwMode="white">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6" name="Freeform 13">
              <a:extLst>
                <a:ext uri="{FF2B5EF4-FFF2-40B4-BE49-F238E27FC236}">
                  <a16:creationId xmlns:a16="http://schemas.microsoft.com/office/drawing/2014/main" id="{2280FDE2-015D-4B7A-8900-05F5FB783060}"/>
                </a:ext>
              </a:extLst>
            </p:cNvPr>
            <p:cNvSpPr>
              <a:spLocks/>
            </p:cNvSpPr>
            <p:nvPr/>
          </p:nvSpPr>
          <p:spPr bwMode="white">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7" name="Freeform 14">
              <a:extLst>
                <a:ext uri="{FF2B5EF4-FFF2-40B4-BE49-F238E27FC236}">
                  <a16:creationId xmlns:a16="http://schemas.microsoft.com/office/drawing/2014/main" id="{D3D1BB3D-6AD6-4BE1-893D-EBCB285005E9}"/>
                </a:ext>
              </a:extLst>
            </p:cNvPr>
            <p:cNvSpPr>
              <a:spLocks/>
            </p:cNvSpPr>
            <p:nvPr/>
          </p:nvSpPr>
          <p:spPr bwMode="white">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8" name="Freeform 15">
              <a:extLst>
                <a:ext uri="{FF2B5EF4-FFF2-40B4-BE49-F238E27FC236}">
                  <a16:creationId xmlns:a16="http://schemas.microsoft.com/office/drawing/2014/main" id="{98B7DF92-85DC-454B-9A4B-F9A35E6A3C3A}"/>
                </a:ext>
              </a:extLst>
            </p:cNvPr>
            <p:cNvSpPr>
              <a:spLocks noEditPoints="1"/>
            </p:cNvSpPr>
            <p:nvPr/>
          </p:nvSpPr>
          <p:spPr bwMode="white">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9" name="Freeform 16">
              <a:extLst>
                <a:ext uri="{FF2B5EF4-FFF2-40B4-BE49-F238E27FC236}">
                  <a16:creationId xmlns:a16="http://schemas.microsoft.com/office/drawing/2014/main" id="{42944BA6-F9C0-48FA-B96D-E1DF6E30FA74}"/>
                </a:ext>
              </a:extLst>
            </p:cNvPr>
            <p:cNvSpPr>
              <a:spLocks/>
            </p:cNvSpPr>
            <p:nvPr/>
          </p:nvSpPr>
          <p:spPr bwMode="white">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0" name="Freeform 17">
              <a:extLst>
                <a:ext uri="{FF2B5EF4-FFF2-40B4-BE49-F238E27FC236}">
                  <a16:creationId xmlns:a16="http://schemas.microsoft.com/office/drawing/2014/main" id="{AD76CDEE-75C6-43F6-B367-6EF14BC3B7FE}"/>
                </a:ext>
              </a:extLst>
            </p:cNvPr>
            <p:cNvSpPr>
              <a:spLocks noEditPoints="1"/>
            </p:cNvSpPr>
            <p:nvPr/>
          </p:nvSpPr>
          <p:spPr bwMode="white">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18">
              <a:extLst>
                <a:ext uri="{FF2B5EF4-FFF2-40B4-BE49-F238E27FC236}">
                  <a16:creationId xmlns:a16="http://schemas.microsoft.com/office/drawing/2014/main" id="{DACB136F-C6ED-433D-9631-749BCDC77B78}"/>
                </a:ext>
              </a:extLst>
            </p:cNvPr>
            <p:cNvSpPr>
              <a:spLocks noEditPoints="1"/>
            </p:cNvSpPr>
            <p:nvPr/>
          </p:nvSpPr>
          <p:spPr bwMode="white">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2" name="Freeform 19">
              <a:extLst>
                <a:ext uri="{FF2B5EF4-FFF2-40B4-BE49-F238E27FC236}">
                  <a16:creationId xmlns:a16="http://schemas.microsoft.com/office/drawing/2014/main" id="{922FADCD-4917-47C7-ADDB-1574B3C49CA8}"/>
                </a:ext>
              </a:extLst>
            </p:cNvPr>
            <p:cNvSpPr>
              <a:spLocks/>
            </p:cNvSpPr>
            <p:nvPr/>
          </p:nvSpPr>
          <p:spPr bwMode="white">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3" name="Freeform 20">
              <a:extLst>
                <a:ext uri="{FF2B5EF4-FFF2-40B4-BE49-F238E27FC236}">
                  <a16:creationId xmlns:a16="http://schemas.microsoft.com/office/drawing/2014/main" id="{EEA96631-7CCE-49D6-A700-D76FF986E47F}"/>
                </a:ext>
              </a:extLst>
            </p:cNvPr>
            <p:cNvSpPr>
              <a:spLocks noEditPoints="1"/>
            </p:cNvSpPr>
            <p:nvPr/>
          </p:nvSpPr>
          <p:spPr bwMode="white">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4" name="Freeform 21">
              <a:extLst>
                <a:ext uri="{FF2B5EF4-FFF2-40B4-BE49-F238E27FC236}">
                  <a16:creationId xmlns:a16="http://schemas.microsoft.com/office/drawing/2014/main" id="{4BB24B6E-8D3D-449A-850B-52F8A8EF40A7}"/>
                </a:ext>
              </a:extLst>
            </p:cNvPr>
            <p:cNvSpPr>
              <a:spLocks noEditPoints="1"/>
            </p:cNvSpPr>
            <p:nvPr/>
          </p:nvSpPr>
          <p:spPr bwMode="white">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5" name="Freeform 22">
              <a:extLst>
                <a:ext uri="{FF2B5EF4-FFF2-40B4-BE49-F238E27FC236}">
                  <a16:creationId xmlns:a16="http://schemas.microsoft.com/office/drawing/2014/main" id="{767CA49F-CF78-4517-9D40-459A6165DB66}"/>
                </a:ext>
              </a:extLst>
            </p:cNvPr>
            <p:cNvSpPr>
              <a:spLocks/>
            </p:cNvSpPr>
            <p:nvPr/>
          </p:nvSpPr>
          <p:spPr bwMode="white">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6" name="Freeform 23">
              <a:extLst>
                <a:ext uri="{FF2B5EF4-FFF2-40B4-BE49-F238E27FC236}">
                  <a16:creationId xmlns:a16="http://schemas.microsoft.com/office/drawing/2014/main" id="{BCE97B83-65DD-49DB-AC39-56BB28ACA966}"/>
                </a:ext>
              </a:extLst>
            </p:cNvPr>
            <p:cNvSpPr>
              <a:spLocks/>
            </p:cNvSpPr>
            <p:nvPr/>
          </p:nvSpPr>
          <p:spPr bwMode="white">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7" name="Freeform 24">
              <a:extLst>
                <a:ext uri="{FF2B5EF4-FFF2-40B4-BE49-F238E27FC236}">
                  <a16:creationId xmlns:a16="http://schemas.microsoft.com/office/drawing/2014/main" id="{3A70ECD6-5CB1-4ABC-BD20-5CD3C4FFDF5E}"/>
                </a:ext>
              </a:extLst>
            </p:cNvPr>
            <p:cNvSpPr>
              <a:spLocks/>
            </p:cNvSpPr>
            <p:nvPr/>
          </p:nvSpPr>
          <p:spPr bwMode="white">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8" name="Freeform 25">
              <a:extLst>
                <a:ext uri="{FF2B5EF4-FFF2-40B4-BE49-F238E27FC236}">
                  <a16:creationId xmlns:a16="http://schemas.microsoft.com/office/drawing/2014/main" id="{5A85C156-A249-4B2C-8A44-A8D8A3A0EEFE}"/>
                </a:ext>
              </a:extLst>
            </p:cNvPr>
            <p:cNvSpPr>
              <a:spLocks/>
            </p:cNvSpPr>
            <p:nvPr/>
          </p:nvSpPr>
          <p:spPr bwMode="white">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9" name="Freeform 26">
              <a:extLst>
                <a:ext uri="{FF2B5EF4-FFF2-40B4-BE49-F238E27FC236}">
                  <a16:creationId xmlns:a16="http://schemas.microsoft.com/office/drawing/2014/main" id="{91225174-20DB-4A4F-A5BB-9A114EDC0F3E}"/>
                </a:ext>
              </a:extLst>
            </p:cNvPr>
            <p:cNvSpPr>
              <a:spLocks/>
            </p:cNvSpPr>
            <p:nvPr/>
          </p:nvSpPr>
          <p:spPr bwMode="white">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0" name="Freeform 27">
              <a:extLst>
                <a:ext uri="{FF2B5EF4-FFF2-40B4-BE49-F238E27FC236}">
                  <a16:creationId xmlns:a16="http://schemas.microsoft.com/office/drawing/2014/main" id="{43682DD6-D2ED-4863-B27B-40F3CBE0E381}"/>
                </a:ext>
              </a:extLst>
            </p:cNvPr>
            <p:cNvSpPr>
              <a:spLocks/>
            </p:cNvSpPr>
            <p:nvPr/>
          </p:nvSpPr>
          <p:spPr bwMode="white">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1" name="Freeform 28">
              <a:extLst>
                <a:ext uri="{FF2B5EF4-FFF2-40B4-BE49-F238E27FC236}">
                  <a16:creationId xmlns:a16="http://schemas.microsoft.com/office/drawing/2014/main" id="{3D572001-B851-4D74-9AAD-13EE61D916F6}"/>
                </a:ext>
              </a:extLst>
            </p:cNvPr>
            <p:cNvSpPr>
              <a:spLocks noEditPoints="1"/>
            </p:cNvSpPr>
            <p:nvPr/>
          </p:nvSpPr>
          <p:spPr bwMode="white">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2" name="Freeform 29">
              <a:extLst>
                <a:ext uri="{FF2B5EF4-FFF2-40B4-BE49-F238E27FC236}">
                  <a16:creationId xmlns:a16="http://schemas.microsoft.com/office/drawing/2014/main" id="{A827519A-33F0-4CCB-AE07-C95A795FF2FB}"/>
                </a:ext>
              </a:extLst>
            </p:cNvPr>
            <p:cNvSpPr>
              <a:spLocks/>
            </p:cNvSpPr>
            <p:nvPr/>
          </p:nvSpPr>
          <p:spPr bwMode="white">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3" name="Freeform 30">
              <a:extLst>
                <a:ext uri="{FF2B5EF4-FFF2-40B4-BE49-F238E27FC236}">
                  <a16:creationId xmlns:a16="http://schemas.microsoft.com/office/drawing/2014/main" id="{4BC09A9F-8959-48BA-9B94-7840D333316F}"/>
                </a:ext>
              </a:extLst>
            </p:cNvPr>
            <p:cNvSpPr>
              <a:spLocks noEditPoints="1"/>
            </p:cNvSpPr>
            <p:nvPr/>
          </p:nvSpPr>
          <p:spPr bwMode="white">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4" name="Freeform 31">
              <a:extLst>
                <a:ext uri="{FF2B5EF4-FFF2-40B4-BE49-F238E27FC236}">
                  <a16:creationId xmlns:a16="http://schemas.microsoft.com/office/drawing/2014/main" id="{125CF3D1-4644-4A4C-A605-6CBB28099392}"/>
                </a:ext>
              </a:extLst>
            </p:cNvPr>
            <p:cNvSpPr>
              <a:spLocks/>
            </p:cNvSpPr>
            <p:nvPr/>
          </p:nvSpPr>
          <p:spPr bwMode="white">
            <a:xfrm>
              <a:off x="11214461" y="970279"/>
              <a:ext cx="83679" cy="112444"/>
            </a:xfrm>
            <a:custGeom>
              <a:avLst/>
              <a:gdLst>
                <a:gd name="T0" fmla="*/ 123 w 123"/>
                <a:gd name="T1" fmla="*/ 94 h 165"/>
                <a:gd name="T2" fmla="*/ 107 w 123"/>
                <a:gd name="T3" fmla="*/ 147 h 165"/>
                <a:gd name="T4" fmla="*/ 62 w 123"/>
                <a:gd name="T5" fmla="*/ 165 h 165"/>
                <a:gd name="T6" fmla="*/ 39 w 123"/>
                <a:gd name="T7" fmla="*/ 161 h 165"/>
                <a:gd name="T8" fmla="*/ 22 w 123"/>
                <a:gd name="T9" fmla="*/ 151 h 165"/>
                <a:gd name="T10" fmla="*/ 8 w 123"/>
                <a:gd name="T11" fmla="*/ 136 h 165"/>
                <a:gd name="T12" fmla="*/ 0 w 123"/>
                <a:gd name="T13" fmla="*/ 117 h 165"/>
                <a:gd name="T14" fmla="*/ 31 w 123"/>
                <a:gd name="T15" fmla="*/ 108 h 165"/>
                <a:gd name="T16" fmla="*/ 36 w 123"/>
                <a:gd name="T17" fmla="*/ 119 h 165"/>
                <a:gd name="T18" fmla="*/ 43 w 123"/>
                <a:gd name="T19" fmla="*/ 126 h 165"/>
                <a:gd name="T20" fmla="*/ 51 w 123"/>
                <a:gd name="T21" fmla="*/ 131 h 165"/>
                <a:gd name="T22" fmla="*/ 62 w 123"/>
                <a:gd name="T23" fmla="*/ 132 h 165"/>
                <a:gd name="T24" fmla="*/ 75 w 123"/>
                <a:gd name="T25" fmla="*/ 130 h 165"/>
                <a:gd name="T26" fmla="*/ 84 w 123"/>
                <a:gd name="T27" fmla="*/ 123 h 165"/>
                <a:gd name="T28" fmla="*/ 89 w 123"/>
                <a:gd name="T29" fmla="*/ 111 h 165"/>
                <a:gd name="T30" fmla="*/ 91 w 123"/>
                <a:gd name="T31" fmla="*/ 95 h 165"/>
                <a:gd name="T32" fmla="*/ 91 w 123"/>
                <a:gd name="T33" fmla="*/ 0 h 165"/>
                <a:gd name="T34" fmla="*/ 123 w 123"/>
                <a:gd name="T35" fmla="*/ 0 h 165"/>
                <a:gd name="T36" fmla="*/ 123 w 123"/>
                <a:gd name="T37" fmla="*/ 9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65">
                  <a:moveTo>
                    <a:pt x="123" y="94"/>
                  </a:moveTo>
                  <a:cubicBezTo>
                    <a:pt x="123" y="117"/>
                    <a:pt x="118" y="135"/>
                    <a:pt x="107" y="147"/>
                  </a:cubicBezTo>
                  <a:cubicBezTo>
                    <a:pt x="97" y="159"/>
                    <a:pt x="81" y="165"/>
                    <a:pt x="62" y="165"/>
                  </a:cubicBezTo>
                  <a:cubicBezTo>
                    <a:pt x="54" y="165"/>
                    <a:pt x="46" y="163"/>
                    <a:pt x="39" y="161"/>
                  </a:cubicBezTo>
                  <a:cubicBezTo>
                    <a:pt x="33" y="159"/>
                    <a:pt x="27" y="155"/>
                    <a:pt x="22" y="151"/>
                  </a:cubicBezTo>
                  <a:cubicBezTo>
                    <a:pt x="16" y="147"/>
                    <a:pt x="12" y="142"/>
                    <a:pt x="8" y="136"/>
                  </a:cubicBezTo>
                  <a:cubicBezTo>
                    <a:pt x="4" y="130"/>
                    <a:pt x="2" y="124"/>
                    <a:pt x="0" y="117"/>
                  </a:cubicBezTo>
                  <a:cubicBezTo>
                    <a:pt x="31" y="108"/>
                    <a:pt x="31" y="108"/>
                    <a:pt x="31" y="108"/>
                  </a:cubicBezTo>
                  <a:cubicBezTo>
                    <a:pt x="33" y="113"/>
                    <a:pt x="35" y="116"/>
                    <a:pt x="36" y="119"/>
                  </a:cubicBezTo>
                  <a:cubicBezTo>
                    <a:pt x="38" y="122"/>
                    <a:pt x="40" y="124"/>
                    <a:pt x="43" y="126"/>
                  </a:cubicBezTo>
                  <a:cubicBezTo>
                    <a:pt x="45" y="128"/>
                    <a:pt x="48" y="130"/>
                    <a:pt x="51" y="131"/>
                  </a:cubicBezTo>
                  <a:cubicBezTo>
                    <a:pt x="54" y="132"/>
                    <a:pt x="58" y="132"/>
                    <a:pt x="62" y="132"/>
                  </a:cubicBezTo>
                  <a:cubicBezTo>
                    <a:pt x="67" y="132"/>
                    <a:pt x="71" y="131"/>
                    <a:pt x="75" y="130"/>
                  </a:cubicBezTo>
                  <a:cubicBezTo>
                    <a:pt x="78" y="128"/>
                    <a:pt x="81" y="126"/>
                    <a:pt x="84" y="123"/>
                  </a:cubicBezTo>
                  <a:cubicBezTo>
                    <a:pt x="86" y="119"/>
                    <a:pt x="88" y="115"/>
                    <a:pt x="89" y="111"/>
                  </a:cubicBezTo>
                  <a:cubicBezTo>
                    <a:pt x="90" y="106"/>
                    <a:pt x="91" y="101"/>
                    <a:pt x="91" y="95"/>
                  </a:cubicBezTo>
                  <a:cubicBezTo>
                    <a:pt x="91" y="0"/>
                    <a:pt x="91" y="0"/>
                    <a:pt x="91" y="0"/>
                  </a:cubicBezTo>
                  <a:cubicBezTo>
                    <a:pt x="123" y="0"/>
                    <a:pt x="123" y="0"/>
                    <a:pt x="123" y="0"/>
                  </a:cubicBezTo>
                  <a:lnTo>
                    <a:pt x="123" y="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5" name="Freeform 32">
              <a:extLst>
                <a:ext uri="{FF2B5EF4-FFF2-40B4-BE49-F238E27FC236}">
                  <a16:creationId xmlns:a16="http://schemas.microsoft.com/office/drawing/2014/main" id="{5C66EC1B-AD1B-491B-A19A-A2C96C78BC6A}"/>
                </a:ext>
              </a:extLst>
            </p:cNvPr>
            <p:cNvSpPr>
              <a:spLocks noEditPoints="1"/>
            </p:cNvSpPr>
            <p:nvPr/>
          </p:nvSpPr>
          <p:spPr bwMode="white">
            <a:xfrm>
              <a:off x="11312522" y="970279"/>
              <a:ext cx="105907" cy="111137"/>
            </a:xfrm>
            <a:custGeom>
              <a:avLst/>
              <a:gdLst>
                <a:gd name="T0" fmla="*/ 81 w 81"/>
                <a:gd name="T1" fmla="*/ 85 h 85"/>
                <a:gd name="T2" fmla="*/ 63 w 81"/>
                <a:gd name="T3" fmla="*/ 85 h 85"/>
                <a:gd name="T4" fmla="*/ 56 w 81"/>
                <a:gd name="T5" fmla="*/ 66 h 85"/>
                <a:gd name="T6" fmla="*/ 24 w 81"/>
                <a:gd name="T7" fmla="*/ 66 h 85"/>
                <a:gd name="T8" fmla="*/ 18 w 81"/>
                <a:gd name="T9" fmla="*/ 85 h 85"/>
                <a:gd name="T10" fmla="*/ 0 w 81"/>
                <a:gd name="T11" fmla="*/ 85 h 85"/>
                <a:gd name="T12" fmla="*/ 32 w 81"/>
                <a:gd name="T13" fmla="*/ 0 h 85"/>
                <a:gd name="T14" fmla="*/ 49 w 81"/>
                <a:gd name="T15" fmla="*/ 0 h 85"/>
                <a:gd name="T16" fmla="*/ 81 w 81"/>
                <a:gd name="T17" fmla="*/ 85 h 85"/>
                <a:gd name="T18" fmla="*/ 50 w 81"/>
                <a:gd name="T19" fmla="*/ 50 h 85"/>
                <a:gd name="T20" fmla="*/ 40 w 81"/>
                <a:gd name="T21" fmla="*/ 22 h 85"/>
                <a:gd name="T22" fmla="*/ 31 w 81"/>
                <a:gd name="T23" fmla="*/ 50 h 85"/>
                <a:gd name="T24" fmla="*/ 50 w 81"/>
                <a:gd name="T25"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5">
                  <a:moveTo>
                    <a:pt x="81" y="85"/>
                  </a:moveTo>
                  <a:lnTo>
                    <a:pt x="63" y="85"/>
                  </a:lnTo>
                  <a:lnTo>
                    <a:pt x="56" y="66"/>
                  </a:lnTo>
                  <a:lnTo>
                    <a:pt x="24" y="66"/>
                  </a:lnTo>
                  <a:lnTo>
                    <a:pt x="18" y="85"/>
                  </a:lnTo>
                  <a:lnTo>
                    <a:pt x="0" y="85"/>
                  </a:lnTo>
                  <a:lnTo>
                    <a:pt x="32" y="0"/>
                  </a:lnTo>
                  <a:lnTo>
                    <a:pt x="49" y="0"/>
                  </a:lnTo>
                  <a:lnTo>
                    <a:pt x="81" y="85"/>
                  </a:lnTo>
                  <a:close/>
                  <a:moveTo>
                    <a:pt x="50" y="50"/>
                  </a:moveTo>
                  <a:lnTo>
                    <a:pt x="40" y="22"/>
                  </a:lnTo>
                  <a:lnTo>
                    <a:pt x="31" y="50"/>
                  </a:lnTo>
                  <a:lnTo>
                    <a:pt x="50"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6" name="Freeform 33">
              <a:extLst>
                <a:ext uri="{FF2B5EF4-FFF2-40B4-BE49-F238E27FC236}">
                  <a16:creationId xmlns:a16="http://schemas.microsoft.com/office/drawing/2014/main" id="{DE0C7275-54C1-4C0E-A900-3BA9CF18FC7F}"/>
                </a:ext>
              </a:extLst>
            </p:cNvPr>
            <p:cNvSpPr>
              <a:spLocks/>
            </p:cNvSpPr>
            <p:nvPr/>
          </p:nvSpPr>
          <p:spPr bwMode="white">
            <a:xfrm>
              <a:off x="11439349" y="970279"/>
              <a:ext cx="88909" cy="111137"/>
            </a:xfrm>
            <a:custGeom>
              <a:avLst/>
              <a:gdLst>
                <a:gd name="T0" fmla="*/ 51 w 68"/>
                <a:gd name="T1" fmla="*/ 85 h 85"/>
                <a:gd name="T2" fmla="*/ 51 w 68"/>
                <a:gd name="T3" fmla="*/ 49 h 85"/>
                <a:gd name="T4" fmla="*/ 17 w 68"/>
                <a:gd name="T5" fmla="*/ 49 h 85"/>
                <a:gd name="T6" fmla="*/ 17 w 68"/>
                <a:gd name="T7" fmla="*/ 85 h 85"/>
                <a:gd name="T8" fmla="*/ 0 w 68"/>
                <a:gd name="T9" fmla="*/ 85 h 85"/>
                <a:gd name="T10" fmla="*/ 0 w 68"/>
                <a:gd name="T11" fmla="*/ 0 h 85"/>
                <a:gd name="T12" fmla="*/ 17 w 68"/>
                <a:gd name="T13" fmla="*/ 0 h 85"/>
                <a:gd name="T14" fmla="*/ 17 w 68"/>
                <a:gd name="T15" fmla="*/ 33 h 85"/>
                <a:gd name="T16" fmla="*/ 51 w 68"/>
                <a:gd name="T17" fmla="*/ 33 h 85"/>
                <a:gd name="T18" fmla="*/ 51 w 68"/>
                <a:gd name="T19" fmla="*/ 0 h 85"/>
                <a:gd name="T20" fmla="*/ 68 w 68"/>
                <a:gd name="T21" fmla="*/ 0 h 85"/>
                <a:gd name="T22" fmla="*/ 68 w 68"/>
                <a:gd name="T23" fmla="*/ 85 h 85"/>
                <a:gd name="T24" fmla="*/ 51 w 68"/>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5">
                  <a:moveTo>
                    <a:pt x="51" y="85"/>
                  </a:moveTo>
                  <a:lnTo>
                    <a:pt x="51" y="49"/>
                  </a:lnTo>
                  <a:lnTo>
                    <a:pt x="17" y="49"/>
                  </a:lnTo>
                  <a:lnTo>
                    <a:pt x="17" y="85"/>
                  </a:lnTo>
                  <a:lnTo>
                    <a:pt x="0" y="85"/>
                  </a:lnTo>
                  <a:lnTo>
                    <a:pt x="0" y="0"/>
                  </a:lnTo>
                  <a:lnTo>
                    <a:pt x="17" y="0"/>
                  </a:lnTo>
                  <a:lnTo>
                    <a:pt x="17" y="33"/>
                  </a:lnTo>
                  <a:lnTo>
                    <a:pt x="51" y="33"/>
                  </a:lnTo>
                  <a:lnTo>
                    <a:pt x="51" y="0"/>
                  </a:lnTo>
                  <a:lnTo>
                    <a:pt x="68" y="0"/>
                  </a:lnTo>
                  <a:lnTo>
                    <a:pt x="68" y="85"/>
                  </a:lnTo>
                  <a:lnTo>
                    <a:pt x="5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7" name="Freeform 34">
              <a:extLst>
                <a:ext uri="{FF2B5EF4-FFF2-40B4-BE49-F238E27FC236}">
                  <a16:creationId xmlns:a16="http://schemas.microsoft.com/office/drawing/2014/main" id="{0A332B72-1C98-486F-B1D7-FD53CDB0B0EC}"/>
                </a:ext>
              </a:extLst>
            </p:cNvPr>
            <p:cNvSpPr>
              <a:spLocks noEditPoints="1"/>
            </p:cNvSpPr>
            <p:nvPr/>
          </p:nvSpPr>
          <p:spPr bwMode="white">
            <a:xfrm>
              <a:off x="11557023" y="970279"/>
              <a:ext cx="90217" cy="111137"/>
            </a:xfrm>
            <a:custGeom>
              <a:avLst/>
              <a:gdLst>
                <a:gd name="T0" fmla="*/ 94 w 131"/>
                <a:gd name="T1" fmla="*/ 162 h 162"/>
                <a:gd name="T2" fmla="*/ 65 w 131"/>
                <a:gd name="T3" fmla="*/ 104 h 162"/>
                <a:gd name="T4" fmla="*/ 32 w 131"/>
                <a:gd name="T5" fmla="*/ 104 h 162"/>
                <a:gd name="T6" fmla="*/ 32 w 131"/>
                <a:gd name="T7" fmla="*/ 162 h 162"/>
                <a:gd name="T8" fmla="*/ 0 w 131"/>
                <a:gd name="T9" fmla="*/ 162 h 162"/>
                <a:gd name="T10" fmla="*/ 0 w 131"/>
                <a:gd name="T11" fmla="*/ 0 h 162"/>
                <a:gd name="T12" fmla="*/ 75 w 131"/>
                <a:gd name="T13" fmla="*/ 0 h 162"/>
                <a:gd name="T14" fmla="*/ 97 w 131"/>
                <a:gd name="T15" fmla="*/ 3 h 162"/>
                <a:gd name="T16" fmla="*/ 115 w 131"/>
                <a:gd name="T17" fmla="*/ 12 h 162"/>
                <a:gd name="T18" fmla="*/ 127 w 131"/>
                <a:gd name="T19" fmla="*/ 29 h 162"/>
                <a:gd name="T20" fmla="*/ 131 w 131"/>
                <a:gd name="T21" fmla="*/ 51 h 162"/>
                <a:gd name="T22" fmla="*/ 129 w 131"/>
                <a:gd name="T23" fmla="*/ 68 h 162"/>
                <a:gd name="T24" fmla="*/ 123 w 131"/>
                <a:gd name="T25" fmla="*/ 81 h 162"/>
                <a:gd name="T26" fmla="*/ 113 w 131"/>
                <a:gd name="T27" fmla="*/ 92 h 162"/>
                <a:gd name="T28" fmla="*/ 100 w 131"/>
                <a:gd name="T29" fmla="*/ 99 h 162"/>
                <a:gd name="T30" fmla="*/ 131 w 131"/>
                <a:gd name="T31" fmla="*/ 162 h 162"/>
                <a:gd name="T32" fmla="*/ 94 w 131"/>
                <a:gd name="T33" fmla="*/ 162 h 162"/>
                <a:gd name="T34" fmla="*/ 98 w 131"/>
                <a:gd name="T35" fmla="*/ 52 h 162"/>
                <a:gd name="T36" fmla="*/ 96 w 131"/>
                <a:gd name="T37" fmla="*/ 42 h 162"/>
                <a:gd name="T38" fmla="*/ 91 w 131"/>
                <a:gd name="T39" fmla="*/ 36 h 162"/>
                <a:gd name="T40" fmla="*/ 84 w 131"/>
                <a:gd name="T41" fmla="*/ 32 h 162"/>
                <a:gd name="T42" fmla="*/ 75 w 131"/>
                <a:gd name="T43" fmla="*/ 31 h 162"/>
                <a:gd name="T44" fmla="*/ 32 w 131"/>
                <a:gd name="T45" fmla="*/ 31 h 162"/>
                <a:gd name="T46" fmla="*/ 32 w 131"/>
                <a:gd name="T47" fmla="*/ 73 h 162"/>
                <a:gd name="T48" fmla="*/ 75 w 131"/>
                <a:gd name="T49" fmla="*/ 73 h 162"/>
                <a:gd name="T50" fmla="*/ 85 w 131"/>
                <a:gd name="T51" fmla="*/ 72 h 162"/>
                <a:gd name="T52" fmla="*/ 92 w 131"/>
                <a:gd name="T53" fmla="*/ 67 h 162"/>
                <a:gd name="T54" fmla="*/ 96 w 131"/>
                <a:gd name="T55" fmla="*/ 61 h 162"/>
                <a:gd name="T56" fmla="*/ 98 w 131"/>
                <a:gd name="T57" fmla="*/ 5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 h="162">
                  <a:moveTo>
                    <a:pt x="94" y="162"/>
                  </a:moveTo>
                  <a:cubicBezTo>
                    <a:pt x="65" y="104"/>
                    <a:pt x="65" y="104"/>
                    <a:pt x="65" y="104"/>
                  </a:cubicBezTo>
                  <a:cubicBezTo>
                    <a:pt x="32" y="104"/>
                    <a:pt x="32" y="104"/>
                    <a:pt x="32" y="104"/>
                  </a:cubicBezTo>
                  <a:cubicBezTo>
                    <a:pt x="32" y="162"/>
                    <a:pt x="32" y="162"/>
                    <a:pt x="32" y="162"/>
                  </a:cubicBezTo>
                  <a:cubicBezTo>
                    <a:pt x="0" y="162"/>
                    <a:pt x="0" y="162"/>
                    <a:pt x="0" y="162"/>
                  </a:cubicBezTo>
                  <a:cubicBezTo>
                    <a:pt x="0" y="0"/>
                    <a:pt x="0" y="0"/>
                    <a:pt x="0" y="0"/>
                  </a:cubicBezTo>
                  <a:cubicBezTo>
                    <a:pt x="75" y="0"/>
                    <a:pt x="75" y="0"/>
                    <a:pt x="75" y="0"/>
                  </a:cubicBezTo>
                  <a:cubicBezTo>
                    <a:pt x="83" y="0"/>
                    <a:pt x="90" y="1"/>
                    <a:pt x="97" y="3"/>
                  </a:cubicBezTo>
                  <a:cubicBezTo>
                    <a:pt x="104" y="5"/>
                    <a:pt x="110" y="8"/>
                    <a:pt x="115" y="12"/>
                  </a:cubicBezTo>
                  <a:cubicBezTo>
                    <a:pt x="120" y="17"/>
                    <a:pt x="124" y="22"/>
                    <a:pt x="127" y="29"/>
                  </a:cubicBezTo>
                  <a:cubicBezTo>
                    <a:pt x="130" y="35"/>
                    <a:pt x="131" y="42"/>
                    <a:pt x="131" y="51"/>
                  </a:cubicBezTo>
                  <a:cubicBezTo>
                    <a:pt x="131" y="58"/>
                    <a:pt x="130" y="63"/>
                    <a:pt x="129" y="68"/>
                  </a:cubicBezTo>
                  <a:cubicBezTo>
                    <a:pt x="128" y="73"/>
                    <a:pt x="126" y="78"/>
                    <a:pt x="123" y="81"/>
                  </a:cubicBezTo>
                  <a:cubicBezTo>
                    <a:pt x="120" y="85"/>
                    <a:pt x="117" y="89"/>
                    <a:pt x="113" y="92"/>
                  </a:cubicBezTo>
                  <a:cubicBezTo>
                    <a:pt x="110" y="94"/>
                    <a:pt x="105" y="97"/>
                    <a:pt x="100" y="99"/>
                  </a:cubicBezTo>
                  <a:cubicBezTo>
                    <a:pt x="131" y="162"/>
                    <a:pt x="131" y="162"/>
                    <a:pt x="131" y="162"/>
                  </a:cubicBezTo>
                  <a:lnTo>
                    <a:pt x="94" y="162"/>
                  </a:lnTo>
                  <a:close/>
                  <a:moveTo>
                    <a:pt x="98" y="52"/>
                  </a:moveTo>
                  <a:cubicBezTo>
                    <a:pt x="98" y="48"/>
                    <a:pt x="97" y="45"/>
                    <a:pt x="96" y="42"/>
                  </a:cubicBezTo>
                  <a:cubicBezTo>
                    <a:pt x="95" y="39"/>
                    <a:pt x="93" y="37"/>
                    <a:pt x="91" y="36"/>
                  </a:cubicBezTo>
                  <a:cubicBezTo>
                    <a:pt x="89" y="34"/>
                    <a:pt x="86" y="33"/>
                    <a:pt x="84" y="32"/>
                  </a:cubicBezTo>
                  <a:cubicBezTo>
                    <a:pt x="81" y="32"/>
                    <a:pt x="78" y="31"/>
                    <a:pt x="75" y="31"/>
                  </a:cubicBezTo>
                  <a:cubicBezTo>
                    <a:pt x="32" y="31"/>
                    <a:pt x="32" y="31"/>
                    <a:pt x="32" y="31"/>
                  </a:cubicBezTo>
                  <a:cubicBezTo>
                    <a:pt x="32" y="73"/>
                    <a:pt x="32" y="73"/>
                    <a:pt x="32" y="73"/>
                  </a:cubicBezTo>
                  <a:cubicBezTo>
                    <a:pt x="75" y="73"/>
                    <a:pt x="75" y="73"/>
                    <a:pt x="75" y="73"/>
                  </a:cubicBezTo>
                  <a:cubicBezTo>
                    <a:pt x="79" y="73"/>
                    <a:pt x="82" y="72"/>
                    <a:pt x="85" y="72"/>
                  </a:cubicBezTo>
                  <a:cubicBezTo>
                    <a:pt x="88" y="71"/>
                    <a:pt x="90" y="69"/>
                    <a:pt x="92" y="67"/>
                  </a:cubicBezTo>
                  <a:cubicBezTo>
                    <a:pt x="94" y="66"/>
                    <a:pt x="95" y="64"/>
                    <a:pt x="96" y="61"/>
                  </a:cubicBezTo>
                  <a:cubicBezTo>
                    <a:pt x="97" y="58"/>
                    <a:pt x="98" y="55"/>
                    <a:pt x="98" y="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8" name="Freeform 35">
              <a:extLst>
                <a:ext uri="{FF2B5EF4-FFF2-40B4-BE49-F238E27FC236}">
                  <a16:creationId xmlns:a16="http://schemas.microsoft.com/office/drawing/2014/main" id="{B3BCF9E1-0026-4389-B268-FEF82FAE2561}"/>
                </a:ext>
              </a:extLst>
            </p:cNvPr>
            <p:cNvSpPr>
              <a:spLocks/>
            </p:cNvSpPr>
            <p:nvPr/>
          </p:nvSpPr>
          <p:spPr bwMode="white">
            <a:xfrm>
              <a:off x="11669468" y="970279"/>
              <a:ext cx="79757" cy="111137"/>
            </a:xfrm>
            <a:custGeom>
              <a:avLst/>
              <a:gdLst>
                <a:gd name="T0" fmla="*/ 61 w 61"/>
                <a:gd name="T1" fmla="*/ 85 h 85"/>
                <a:gd name="T2" fmla="*/ 0 w 61"/>
                <a:gd name="T3" fmla="*/ 85 h 85"/>
                <a:gd name="T4" fmla="*/ 0 w 61"/>
                <a:gd name="T5" fmla="*/ 0 h 85"/>
                <a:gd name="T6" fmla="*/ 59 w 61"/>
                <a:gd name="T7" fmla="*/ 0 h 85"/>
                <a:gd name="T8" fmla="*/ 59 w 61"/>
                <a:gd name="T9" fmla="*/ 16 h 85"/>
                <a:gd name="T10" fmla="*/ 18 w 61"/>
                <a:gd name="T11" fmla="*/ 16 h 85"/>
                <a:gd name="T12" fmla="*/ 18 w 61"/>
                <a:gd name="T13" fmla="*/ 31 h 85"/>
                <a:gd name="T14" fmla="*/ 52 w 61"/>
                <a:gd name="T15" fmla="*/ 31 h 85"/>
                <a:gd name="T16" fmla="*/ 52 w 61"/>
                <a:gd name="T17" fmla="*/ 48 h 85"/>
                <a:gd name="T18" fmla="*/ 18 w 61"/>
                <a:gd name="T19" fmla="*/ 48 h 85"/>
                <a:gd name="T20" fmla="*/ 18 w 61"/>
                <a:gd name="T21" fmla="*/ 68 h 85"/>
                <a:gd name="T22" fmla="*/ 61 w 61"/>
                <a:gd name="T23" fmla="*/ 68 h 85"/>
                <a:gd name="T24" fmla="*/ 61 w 61"/>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5">
                  <a:moveTo>
                    <a:pt x="61" y="85"/>
                  </a:moveTo>
                  <a:lnTo>
                    <a:pt x="0" y="85"/>
                  </a:lnTo>
                  <a:lnTo>
                    <a:pt x="0" y="0"/>
                  </a:lnTo>
                  <a:lnTo>
                    <a:pt x="59" y="0"/>
                  </a:lnTo>
                  <a:lnTo>
                    <a:pt x="59" y="16"/>
                  </a:lnTo>
                  <a:lnTo>
                    <a:pt x="18" y="16"/>
                  </a:lnTo>
                  <a:lnTo>
                    <a:pt x="18" y="31"/>
                  </a:lnTo>
                  <a:lnTo>
                    <a:pt x="52" y="31"/>
                  </a:lnTo>
                  <a:lnTo>
                    <a:pt x="52" y="48"/>
                  </a:lnTo>
                  <a:lnTo>
                    <a:pt x="18" y="48"/>
                  </a:lnTo>
                  <a:lnTo>
                    <a:pt x="18" y="68"/>
                  </a:lnTo>
                  <a:lnTo>
                    <a:pt x="61" y="68"/>
                  </a:lnTo>
                  <a:lnTo>
                    <a:pt x="6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9" name="Freeform 36">
              <a:extLst>
                <a:ext uri="{FF2B5EF4-FFF2-40B4-BE49-F238E27FC236}">
                  <a16:creationId xmlns:a16="http://schemas.microsoft.com/office/drawing/2014/main" id="{649F954E-57A5-4CCA-9CAB-F232FEBD5F36}"/>
                </a:ext>
              </a:extLst>
            </p:cNvPr>
            <p:cNvSpPr>
              <a:spLocks/>
            </p:cNvSpPr>
            <p:nvPr/>
          </p:nvSpPr>
          <p:spPr bwMode="white">
            <a:xfrm>
              <a:off x="9731769" y="1013426"/>
              <a:ext cx="261498" cy="366097"/>
            </a:xfrm>
            <a:custGeom>
              <a:avLst/>
              <a:gdLst>
                <a:gd name="T0" fmla="*/ 200 w 200"/>
                <a:gd name="T1" fmla="*/ 280 h 280"/>
                <a:gd name="T2" fmla="*/ 0 w 200"/>
                <a:gd name="T3" fmla="*/ 280 h 280"/>
                <a:gd name="T4" fmla="*/ 0 w 200"/>
                <a:gd name="T5" fmla="*/ 0 h 280"/>
                <a:gd name="T6" fmla="*/ 181 w 200"/>
                <a:gd name="T7" fmla="*/ 0 h 280"/>
                <a:gd name="T8" fmla="*/ 181 w 200"/>
                <a:gd name="T9" fmla="*/ 55 h 280"/>
                <a:gd name="T10" fmla="*/ 55 w 200"/>
                <a:gd name="T11" fmla="*/ 55 h 280"/>
                <a:gd name="T12" fmla="*/ 55 w 200"/>
                <a:gd name="T13" fmla="*/ 103 h 280"/>
                <a:gd name="T14" fmla="*/ 168 w 200"/>
                <a:gd name="T15" fmla="*/ 103 h 280"/>
                <a:gd name="T16" fmla="*/ 168 w 200"/>
                <a:gd name="T17" fmla="*/ 157 h 280"/>
                <a:gd name="T18" fmla="*/ 55 w 200"/>
                <a:gd name="T19" fmla="*/ 157 h 280"/>
                <a:gd name="T20" fmla="*/ 55 w 200"/>
                <a:gd name="T21" fmla="*/ 225 h 280"/>
                <a:gd name="T22" fmla="*/ 200 w 200"/>
                <a:gd name="T23" fmla="*/ 225 h 280"/>
                <a:gd name="T24" fmla="*/ 200 w 200"/>
                <a:gd name="T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80">
                  <a:moveTo>
                    <a:pt x="200" y="280"/>
                  </a:moveTo>
                  <a:lnTo>
                    <a:pt x="0" y="280"/>
                  </a:lnTo>
                  <a:lnTo>
                    <a:pt x="0" y="0"/>
                  </a:lnTo>
                  <a:lnTo>
                    <a:pt x="181" y="0"/>
                  </a:lnTo>
                  <a:lnTo>
                    <a:pt x="181" y="55"/>
                  </a:lnTo>
                  <a:lnTo>
                    <a:pt x="55" y="55"/>
                  </a:lnTo>
                  <a:lnTo>
                    <a:pt x="55" y="103"/>
                  </a:lnTo>
                  <a:lnTo>
                    <a:pt x="168" y="103"/>
                  </a:lnTo>
                  <a:lnTo>
                    <a:pt x="168" y="157"/>
                  </a:lnTo>
                  <a:lnTo>
                    <a:pt x="55" y="157"/>
                  </a:lnTo>
                  <a:lnTo>
                    <a:pt x="55" y="225"/>
                  </a:lnTo>
                  <a:lnTo>
                    <a:pt x="200" y="225"/>
                  </a:lnTo>
                  <a:lnTo>
                    <a:pt x="200" y="28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0" name="Freeform 37">
              <a:extLst>
                <a:ext uri="{FF2B5EF4-FFF2-40B4-BE49-F238E27FC236}">
                  <a16:creationId xmlns:a16="http://schemas.microsoft.com/office/drawing/2014/main" id="{6DE56CC7-4BD4-440A-97FD-A8FAEC415494}"/>
                </a:ext>
              </a:extLst>
            </p:cNvPr>
            <p:cNvSpPr>
              <a:spLocks/>
            </p:cNvSpPr>
            <p:nvPr/>
          </p:nvSpPr>
          <p:spPr bwMode="white">
            <a:xfrm>
              <a:off x="9981497" y="1013426"/>
              <a:ext cx="334717" cy="366097"/>
            </a:xfrm>
            <a:custGeom>
              <a:avLst/>
              <a:gdLst>
                <a:gd name="T0" fmla="*/ 256 w 256"/>
                <a:gd name="T1" fmla="*/ 0 h 280"/>
                <a:gd name="T2" fmla="*/ 156 w 256"/>
                <a:gd name="T3" fmla="*/ 157 h 280"/>
                <a:gd name="T4" fmla="*/ 156 w 256"/>
                <a:gd name="T5" fmla="*/ 280 h 280"/>
                <a:gd name="T6" fmla="*/ 100 w 256"/>
                <a:gd name="T7" fmla="*/ 280 h 280"/>
                <a:gd name="T8" fmla="*/ 100 w 256"/>
                <a:gd name="T9" fmla="*/ 159 h 280"/>
                <a:gd name="T10" fmla="*/ 0 w 256"/>
                <a:gd name="T11" fmla="*/ 0 h 280"/>
                <a:gd name="T12" fmla="*/ 64 w 256"/>
                <a:gd name="T13" fmla="*/ 0 h 280"/>
                <a:gd name="T14" fmla="*/ 128 w 256"/>
                <a:gd name="T15" fmla="*/ 106 h 280"/>
                <a:gd name="T16" fmla="*/ 192 w 256"/>
                <a:gd name="T17" fmla="*/ 0 h 280"/>
                <a:gd name="T18" fmla="*/ 256 w 256"/>
                <a:gd name="T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80">
                  <a:moveTo>
                    <a:pt x="256" y="0"/>
                  </a:moveTo>
                  <a:lnTo>
                    <a:pt x="156" y="157"/>
                  </a:lnTo>
                  <a:lnTo>
                    <a:pt x="156" y="280"/>
                  </a:lnTo>
                  <a:lnTo>
                    <a:pt x="100" y="280"/>
                  </a:lnTo>
                  <a:lnTo>
                    <a:pt x="100" y="159"/>
                  </a:lnTo>
                  <a:lnTo>
                    <a:pt x="0" y="0"/>
                  </a:lnTo>
                  <a:lnTo>
                    <a:pt x="64" y="0"/>
                  </a:lnTo>
                  <a:lnTo>
                    <a:pt x="128" y="106"/>
                  </a:lnTo>
                  <a:lnTo>
                    <a:pt x="192"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1" name="Freeform 38">
              <a:extLst>
                <a:ext uri="{FF2B5EF4-FFF2-40B4-BE49-F238E27FC236}">
                  <a16:creationId xmlns:a16="http://schemas.microsoft.com/office/drawing/2014/main" id="{658A3BBD-2F70-448C-911B-74A58B3D4525}"/>
                </a:ext>
              </a:extLst>
            </p:cNvPr>
            <p:cNvSpPr>
              <a:spLocks noEditPoints="1"/>
            </p:cNvSpPr>
            <p:nvPr/>
          </p:nvSpPr>
          <p:spPr bwMode="white">
            <a:xfrm>
              <a:off x="10199846" y="638177"/>
              <a:ext cx="1435622" cy="1039454"/>
            </a:xfrm>
            <a:custGeom>
              <a:avLst/>
              <a:gdLst>
                <a:gd name="T0" fmla="*/ 0 w 2104"/>
                <a:gd name="T1" fmla="*/ 293 h 1521"/>
                <a:gd name="T2" fmla="*/ 243 w 2104"/>
                <a:gd name="T3" fmla="*/ 139 h 1521"/>
                <a:gd name="T4" fmla="*/ 243 w 2104"/>
                <a:gd name="T5" fmla="*/ 191 h 1521"/>
                <a:gd name="T6" fmla="*/ 176 w 2104"/>
                <a:gd name="T7" fmla="*/ 1056 h 1521"/>
                <a:gd name="T8" fmla="*/ 279 w 2104"/>
                <a:gd name="T9" fmla="*/ 25 h 1521"/>
                <a:gd name="T10" fmla="*/ 1557 w 2104"/>
                <a:gd name="T11" fmla="*/ 1144 h 1521"/>
                <a:gd name="T12" fmla="*/ 1557 w 2104"/>
                <a:gd name="T13" fmla="*/ 1108 h 1521"/>
                <a:gd name="T14" fmla="*/ 1557 w 2104"/>
                <a:gd name="T15" fmla="*/ 1072 h 1521"/>
                <a:gd name="T16" fmla="*/ 1557 w 2104"/>
                <a:gd name="T17" fmla="*/ 1035 h 1521"/>
                <a:gd name="T18" fmla="*/ 1557 w 2104"/>
                <a:gd name="T19" fmla="*/ 1000 h 1521"/>
                <a:gd name="T20" fmla="*/ 1186 w 2104"/>
                <a:gd name="T21" fmla="*/ 465 h 1521"/>
                <a:gd name="T22" fmla="*/ 1915 w 2104"/>
                <a:gd name="T23" fmla="*/ 372 h 1521"/>
                <a:gd name="T24" fmla="*/ 1099 w 2104"/>
                <a:gd name="T25" fmla="*/ 499 h 1521"/>
                <a:gd name="T26" fmla="*/ 1977 w 2104"/>
                <a:gd name="T27" fmla="*/ 426 h 1521"/>
                <a:gd name="T28" fmla="*/ 1089 w 2104"/>
                <a:gd name="T29" fmla="*/ 421 h 1521"/>
                <a:gd name="T30" fmla="*/ 1565 w 2104"/>
                <a:gd name="T31" fmla="*/ 60 h 1521"/>
                <a:gd name="T32" fmla="*/ 1565 w 2104"/>
                <a:gd name="T33" fmla="*/ 24 h 1521"/>
                <a:gd name="T34" fmla="*/ 556 w 2104"/>
                <a:gd name="T35" fmla="*/ 485 h 1521"/>
                <a:gd name="T36" fmla="*/ 468 w 2104"/>
                <a:gd name="T37" fmla="*/ 41 h 1521"/>
                <a:gd name="T38" fmla="*/ 388 w 2104"/>
                <a:gd name="T39" fmla="*/ 106 h 1521"/>
                <a:gd name="T40" fmla="*/ 351 w 2104"/>
                <a:gd name="T41" fmla="*/ 760 h 1521"/>
                <a:gd name="T42" fmla="*/ 316 w 2104"/>
                <a:gd name="T43" fmla="*/ 70 h 1521"/>
                <a:gd name="T44" fmla="*/ 434 w 2104"/>
                <a:gd name="T45" fmla="*/ 1086 h 1521"/>
                <a:gd name="T46" fmla="*/ 885 w 2104"/>
                <a:gd name="T47" fmla="*/ 487 h 1521"/>
                <a:gd name="T48" fmla="*/ 885 w 2104"/>
                <a:gd name="T49" fmla="*/ 523 h 1521"/>
                <a:gd name="T50" fmla="*/ 568 w 2104"/>
                <a:gd name="T51" fmla="*/ 1056 h 1521"/>
                <a:gd name="T52" fmla="*/ 885 w 2104"/>
                <a:gd name="T53" fmla="*/ 559 h 1521"/>
                <a:gd name="T54" fmla="*/ 1089 w 2104"/>
                <a:gd name="T55" fmla="*/ 534 h 1521"/>
                <a:gd name="T56" fmla="*/ 1299 w 2104"/>
                <a:gd name="T57" fmla="*/ 996 h 1521"/>
                <a:gd name="T58" fmla="*/ 672 w 2104"/>
                <a:gd name="T59" fmla="*/ 1250 h 1521"/>
                <a:gd name="T60" fmla="*/ 894 w 2104"/>
                <a:gd name="T61" fmla="*/ 1377 h 1521"/>
                <a:gd name="T62" fmla="*/ 895 w 2104"/>
                <a:gd name="T63" fmla="*/ 1413 h 1521"/>
                <a:gd name="T64" fmla="*/ 619 w 2104"/>
                <a:gd name="T65" fmla="*/ 1361 h 1521"/>
                <a:gd name="T66" fmla="*/ 1382 w 2104"/>
                <a:gd name="T67" fmla="*/ 1152 h 1521"/>
                <a:gd name="T68" fmla="*/ 509 w 2104"/>
                <a:gd name="T69" fmla="*/ 1325 h 1521"/>
                <a:gd name="T70" fmla="*/ 1416 w 2104"/>
                <a:gd name="T71" fmla="*/ 1162 h 1521"/>
                <a:gd name="T72" fmla="*/ 2062 w 2104"/>
                <a:gd name="T73" fmla="*/ 711 h 1521"/>
                <a:gd name="T74" fmla="*/ 386 w 2104"/>
                <a:gd name="T75" fmla="*/ 950 h 1521"/>
                <a:gd name="T76" fmla="*/ 351 w 2104"/>
                <a:gd name="T77" fmla="*/ 968 h 1521"/>
                <a:gd name="T78" fmla="*/ 885 w 2104"/>
                <a:gd name="T79" fmla="*/ 415 h 1521"/>
                <a:gd name="T80" fmla="*/ 1162 w 2104"/>
                <a:gd name="T81" fmla="*/ 535 h 1521"/>
                <a:gd name="T82" fmla="*/ 1420 w 2104"/>
                <a:gd name="T83" fmla="*/ 978 h 1521"/>
                <a:gd name="T84" fmla="*/ 1162 w 2104"/>
                <a:gd name="T85" fmla="*/ 535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4" h="1521">
                  <a:moveTo>
                    <a:pt x="268" y="12"/>
                  </a:moveTo>
                  <a:cubicBezTo>
                    <a:pt x="259" y="12"/>
                    <a:pt x="252" y="20"/>
                    <a:pt x="246" y="26"/>
                  </a:cubicBezTo>
                  <a:cubicBezTo>
                    <a:pt x="0" y="293"/>
                    <a:pt x="0" y="293"/>
                    <a:pt x="0" y="293"/>
                  </a:cubicBezTo>
                  <a:cubicBezTo>
                    <a:pt x="4" y="303"/>
                    <a:pt x="25" y="320"/>
                    <a:pt x="51" y="291"/>
                  </a:cubicBezTo>
                  <a:cubicBezTo>
                    <a:pt x="66" y="276"/>
                    <a:pt x="243" y="80"/>
                    <a:pt x="243" y="80"/>
                  </a:cubicBezTo>
                  <a:cubicBezTo>
                    <a:pt x="243" y="139"/>
                    <a:pt x="243" y="139"/>
                    <a:pt x="243" y="139"/>
                  </a:cubicBezTo>
                  <a:cubicBezTo>
                    <a:pt x="227" y="157"/>
                    <a:pt x="76" y="322"/>
                    <a:pt x="60" y="338"/>
                  </a:cubicBezTo>
                  <a:cubicBezTo>
                    <a:pt x="38" y="360"/>
                    <a:pt x="46" y="383"/>
                    <a:pt x="59" y="392"/>
                  </a:cubicBezTo>
                  <a:cubicBezTo>
                    <a:pt x="243" y="191"/>
                    <a:pt x="243" y="191"/>
                    <a:pt x="243" y="191"/>
                  </a:cubicBezTo>
                  <a:cubicBezTo>
                    <a:pt x="243" y="983"/>
                    <a:pt x="243" y="983"/>
                    <a:pt x="243" y="983"/>
                  </a:cubicBezTo>
                  <a:cubicBezTo>
                    <a:pt x="243" y="1029"/>
                    <a:pt x="228" y="1059"/>
                    <a:pt x="200" y="1059"/>
                  </a:cubicBezTo>
                  <a:cubicBezTo>
                    <a:pt x="187" y="1059"/>
                    <a:pt x="181" y="1057"/>
                    <a:pt x="176" y="1056"/>
                  </a:cubicBezTo>
                  <a:cubicBezTo>
                    <a:pt x="170" y="1070"/>
                    <a:pt x="180" y="1090"/>
                    <a:pt x="208" y="1090"/>
                  </a:cubicBezTo>
                  <a:cubicBezTo>
                    <a:pt x="268" y="1090"/>
                    <a:pt x="279" y="1027"/>
                    <a:pt x="279" y="983"/>
                  </a:cubicBezTo>
                  <a:cubicBezTo>
                    <a:pt x="279" y="25"/>
                    <a:pt x="279" y="25"/>
                    <a:pt x="279" y="25"/>
                  </a:cubicBezTo>
                  <a:cubicBezTo>
                    <a:pt x="279" y="18"/>
                    <a:pt x="275" y="12"/>
                    <a:pt x="268" y="12"/>
                  </a:cubicBezTo>
                  <a:close/>
                  <a:moveTo>
                    <a:pt x="2062" y="711"/>
                  </a:moveTo>
                  <a:cubicBezTo>
                    <a:pt x="2072" y="820"/>
                    <a:pt x="1941" y="1144"/>
                    <a:pt x="1557" y="1144"/>
                  </a:cubicBezTo>
                  <a:cubicBezTo>
                    <a:pt x="1472" y="1144"/>
                    <a:pt x="1403" y="1124"/>
                    <a:pt x="1361" y="1105"/>
                  </a:cubicBezTo>
                  <a:cubicBezTo>
                    <a:pt x="1364" y="1094"/>
                    <a:pt x="1367" y="1083"/>
                    <a:pt x="1370" y="1072"/>
                  </a:cubicBezTo>
                  <a:cubicBezTo>
                    <a:pt x="1423" y="1094"/>
                    <a:pt x="1482" y="1108"/>
                    <a:pt x="1557" y="1108"/>
                  </a:cubicBezTo>
                  <a:cubicBezTo>
                    <a:pt x="1871" y="1108"/>
                    <a:pt x="1988" y="879"/>
                    <a:pt x="2010" y="795"/>
                  </a:cubicBezTo>
                  <a:cubicBezTo>
                    <a:pt x="2025" y="742"/>
                    <a:pt x="2018" y="711"/>
                    <a:pt x="1981" y="711"/>
                  </a:cubicBezTo>
                  <a:cubicBezTo>
                    <a:pt x="1994" y="785"/>
                    <a:pt x="1899" y="1072"/>
                    <a:pt x="1557" y="1072"/>
                  </a:cubicBezTo>
                  <a:cubicBezTo>
                    <a:pt x="1490" y="1072"/>
                    <a:pt x="1431" y="1059"/>
                    <a:pt x="1377" y="1037"/>
                  </a:cubicBezTo>
                  <a:cubicBezTo>
                    <a:pt x="1379" y="1026"/>
                    <a:pt x="1380" y="1014"/>
                    <a:pt x="1382" y="1003"/>
                  </a:cubicBezTo>
                  <a:cubicBezTo>
                    <a:pt x="1420" y="1018"/>
                    <a:pt x="1479" y="1035"/>
                    <a:pt x="1557" y="1035"/>
                  </a:cubicBezTo>
                  <a:cubicBezTo>
                    <a:pt x="1794" y="1035"/>
                    <a:pt x="1908" y="877"/>
                    <a:pt x="1932" y="781"/>
                  </a:cubicBezTo>
                  <a:cubicBezTo>
                    <a:pt x="1943" y="739"/>
                    <a:pt x="1936" y="711"/>
                    <a:pt x="1902" y="711"/>
                  </a:cubicBezTo>
                  <a:cubicBezTo>
                    <a:pt x="1910" y="784"/>
                    <a:pt x="1826" y="1000"/>
                    <a:pt x="1557" y="1000"/>
                  </a:cubicBezTo>
                  <a:cubicBezTo>
                    <a:pt x="1519" y="1000"/>
                    <a:pt x="1484" y="995"/>
                    <a:pt x="1455" y="988"/>
                  </a:cubicBezTo>
                  <a:cubicBezTo>
                    <a:pt x="1456" y="975"/>
                    <a:pt x="1456" y="960"/>
                    <a:pt x="1456" y="950"/>
                  </a:cubicBezTo>
                  <a:cubicBezTo>
                    <a:pt x="1456" y="749"/>
                    <a:pt x="1351" y="567"/>
                    <a:pt x="1186" y="465"/>
                  </a:cubicBezTo>
                  <a:cubicBezTo>
                    <a:pt x="1249" y="318"/>
                    <a:pt x="1390" y="204"/>
                    <a:pt x="1565" y="204"/>
                  </a:cubicBezTo>
                  <a:cubicBezTo>
                    <a:pt x="1787" y="204"/>
                    <a:pt x="1886" y="374"/>
                    <a:pt x="1896" y="426"/>
                  </a:cubicBezTo>
                  <a:cubicBezTo>
                    <a:pt x="1919" y="426"/>
                    <a:pt x="1925" y="395"/>
                    <a:pt x="1915" y="372"/>
                  </a:cubicBezTo>
                  <a:cubicBezTo>
                    <a:pt x="1892" y="314"/>
                    <a:pt x="1782" y="169"/>
                    <a:pt x="1565" y="169"/>
                  </a:cubicBezTo>
                  <a:cubicBezTo>
                    <a:pt x="1348" y="169"/>
                    <a:pt x="1187" y="321"/>
                    <a:pt x="1131" y="516"/>
                  </a:cubicBezTo>
                  <a:cubicBezTo>
                    <a:pt x="1121" y="510"/>
                    <a:pt x="1110" y="504"/>
                    <a:pt x="1099" y="499"/>
                  </a:cubicBezTo>
                  <a:cubicBezTo>
                    <a:pt x="1107" y="476"/>
                    <a:pt x="1114" y="453"/>
                    <a:pt x="1122" y="434"/>
                  </a:cubicBezTo>
                  <a:cubicBezTo>
                    <a:pt x="1192" y="257"/>
                    <a:pt x="1361" y="132"/>
                    <a:pt x="1565" y="132"/>
                  </a:cubicBezTo>
                  <a:cubicBezTo>
                    <a:pt x="1836" y="132"/>
                    <a:pt x="1966" y="343"/>
                    <a:pt x="1977" y="426"/>
                  </a:cubicBezTo>
                  <a:cubicBezTo>
                    <a:pt x="1997" y="426"/>
                    <a:pt x="2012" y="403"/>
                    <a:pt x="2003" y="378"/>
                  </a:cubicBezTo>
                  <a:cubicBezTo>
                    <a:pt x="1975" y="301"/>
                    <a:pt x="1856" y="96"/>
                    <a:pt x="1565" y="96"/>
                  </a:cubicBezTo>
                  <a:cubicBezTo>
                    <a:pt x="1346" y="96"/>
                    <a:pt x="1164" y="231"/>
                    <a:pt x="1089" y="421"/>
                  </a:cubicBezTo>
                  <a:cubicBezTo>
                    <a:pt x="1082" y="437"/>
                    <a:pt x="1074" y="460"/>
                    <a:pt x="1066" y="485"/>
                  </a:cubicBezTo>
                  <a:cubicBezTo>
                    <a:pt x="1056" y="481"/>
                    <a:pt x="1046" y="477"/>
                    <a:pt x="1036" y="474"/>
                  </a:cubicBezTo>
                  <a:cubicBezTo>
                    <a:pt x="1086" y="263"/>
                    <a:pt x="1283" y="60"/>
                    <a:pt x="1565" y="60"/>
                  </a:cubicBezTo>
                  <a:cubicBezTo>
                    <a:pt x="1936" y="60"/>
                    <a:pt x="2057" y="372"/>
                    <a:pt x="2058" y="426"/>
                  </a:cubicBezTo>
                  <a:cubicBezTo>
                    <a:pt x="2084" y="426"/>
                    <a:pt x="2093" y="398"/>
                    <a:pt x="2085" y="372"/>
                  </a:cubicBezTo>
                  <a:cubicBezTo>
                    <a:pt x="2058" y="289"/>
                    <a:pt x="1922" y="24"/>
                    <a:pt x="1565" y="24"/>
                  </a:cubicBezTo>
                  <a:cubicBezTo>
                    <a:pt x="1298" y="24"/>
                    <a:pt x="1105" y="187"/>
                    <a:pt x="1024" y="396"/>
                  </a:cubicBezTo>
                  <a:cubicBezTo>
                    <a:pt x="979" y="385"/>
                    <a:pt x="932" y="379"/>
                    <a:pt x="885" y="379"/>
                  </a:cubicBezTo>
                  <a:cubicBezTo>
                    <a:pt x="766" y="379"/>
                    <a:pt x="653" y="416"/>
                    <a:pt x="556" y="485"/>
                  </a:cubicBezTo>
                  <a:cubicBezTo>
                    <a:pt x="505" y="522"/>
                    <a:pt x="460" y="566"/>
                    <a:pt x="424" y="616"/>
                  </a:cubicBezTo>
                  <a:cubicBezTo>
                    <a:pt x="424" y="106"/>
                    <a:pt x="424" y="106"/>
                    <a:pt x="424" y="106"/>
                  </a:cubicBezTo>
                  <a:cubicBezTo>
                    <a:pt x="424" y="60"/>
                    <a:pt x="439" y="41"/>
                    <a:pt x="468" y="41"/>
                  </a:cubicBezTo>
                  <a:cubicBezTo>
                    <a:pt x="480" y="41"/>
                    <a:pt x="486" y="43"/>
                    <a:pt x="491" y="44"/>
                  </a:cubicBezTo>
                  <a:cubicBezTo>
                    <a:pt x="497" y="30"/>
                    <a:pt x="487" y="10"/>
                    <a:pt x="459" y="10"/>
                  </a:cubicBezTo>
                  <a:cubicBezTo>
                    <a:pt x="399" y="10"/>
                    <a:pt x="388" y="62"/>
                    <a:pt x="388" y="106"/>
                  </a:cubicBezTo>
                  <a:cubicBezTo>
                    <a:pt x="388" y="106"/>
                    <a:pt x="388" y="518"/>
                    <a:pt x="388" y="672"/>
                  </a:cubicBezTo>
                  <a:cubicBezTo>
                    <a:pt x="388" y="673"/>
                    <a:pt x="387" y="674"/>
                    <a:pt x="387" y="675"/>
                  </a:cubicBezTo>
                  <a:cubicBezTo>
                    <a:pt x="377" y="692"/>
                    <a:pt x="362" y="729"/>
                    <a:pt x="351" y="760"/>
                  </a:cubicBezTo>
                  <a:cubicBezTo>
                    <a:pt x="351" y="84"/>
                    <a:pt x="351" y="84"/>
                    <a:pt x="351" y="84"/>
                  </a:cubicBezTo>
                  <a:cubicBezTo>
                    <a:pt x="351" y="41"/>
                    <a:pt x="361" y="26"/>
                    <a:pt x="369" y="19"/>
                  </a:cubicBezTo>
                  <a:cubicBezTo>
                    <a:pt x="365" y="5"/>
                    <a:pt x="316" y="0"/>
                    <a:pt x="316" y="70"/>
                  </a:cubicBezTo>
                  <a:cubicBezTo>
                    <a:pt x="316" y="103"/>
                    <a:pt x="316" y="984"/>
                    <a:pt x="316" y="984"/>
                  </a:cubicBezTo>
                  <a:cubicBezTo>
                    <a:pt x="316" y="1060"/>
                    <a:pt x="351" y="1091"/>
                    <a:pt x="389" y="1091"/>
                  </a:cubicBezTo>
                  <a:cubicBezTo>
                    <a:pt x="405" y="1091"/>
                    <a:pt x="422" y="1088"/>
                    <a:pt x="434" y="1086"/>
                  </a:cubicBezTo>
                  <a:cubicBezTo>
                    <a:pt x="440" y="1084"/>
                    <a:pt x="444" y="1077"/>
                    <a:pt x="442" y="1071"/>
                  </a:cubicBezTo>
                  <a:cubicBezTo>
                    <a:pt x="430" y="1040"/>
                    <a:pt x="422" y="998"/>
                    <a:pt x="422" y="950"/>
                  </a:cubicBezTo>
                  <a:cubicBezTo>
                    <a:pt x="422" y="694"/>
                    <a:pt x="630" y="487"/>
                    <a:pt x="885" y="487"/>
                  </a:cubicBezTo>
                  <a:cubicBezTo>
                    <a:pt x="946" y="487"/>
                    <a:pt x="1003" y="498"/>
                    <a:pt x="1057" y="519"/>
                  </a:cubicBezTo>
                  <a:cubicBezTo>
                    <a:pt x="1053" y="530"/>
                    <a:pt x="1051" y="542"/>
                    <a:pt x="1048" y="553"/>
                  </a:cubicBezTo>
                  <a:cubicBezTo>
                    <a:pt x="1008" y="537"/>
                    <a:pt x="955" y="523"/>
                    <a:pt x="885" y="523"/>
                  </a:cubicBezTo>
                  <a:cubicBezTo>
                    <a:pt x="650" y="523"/>
                    <a:pt x="458" y="715"/>
                    <a:pt x="458" y="950"/>
                  </a:cubicBezTo>
                  <a:cubicBezTo>
                    <a:pt x="458" y="1011"/>
                    <a:pt x="475" y="1090"/>
                    <a:pt x="535" y="1090"/>
                  </a:cubicBezTo>
                  <a:cubicBezTo>
                    <a:pt x="564" y="1090"/>
                    <a:pt x="574" y="1070"/>
                    <a:pt x="568" y="1056"/>
                  </a:cubicBezTo>
                  <a:cubicBezTo>
                    <a:pt x="562" y="1057"/>
                    <a:pt x="556" y="1059"/>
                    <a:pt x="544" y="1059"/>
                  </a:cubicBezTo>
                  <a:cubicBezTo>
                    <a:pt x="516" y="1059"/>
                    <a:pt x="494" y="1021"/>
                    <a:pt x="494" y="950"/>
                  </a:cubicBezTo>
                  <a:cubicBezTo>
                    <a:pt x="494" y="734"/>
                    <a:pt x="669" y="559"/>
                    <a:pt x="885" y="559"/>
                  </a:cubicBezTo>
                  <a:cubicBezTo>
                    <a:pt x="959" y="559"/>
                    <a:pt x="1016" y="577"/>
                    <a:pt x="1056" y="597"/>
                  </a:cubicBezTo>
                  <a:cubicBezTo>
                    <a:pt x="1065" y="601"/>
                    <a:pt x="1075" y="595"/>
                    <a:pt x="1077" y="585"/>
                  </a:cubicBezTo>
                  <a:cubicBezTo>
                    <a:pt x="1079" y="571"/>
                    <a:pt x="1084" y="553"/>
                    <a:pt x="1089" y="534"/>
                  </a:cubicBezTo>
                  <a:cubicBezTo>
                    <a:pt x="1243" y="609"/>
                    <a:pt x="1349" y="768"/>
                    <a:pt x="1349" y="950"/>
                  </a:cubicBezTo>
                  <a:cubicBezTo>
                    <a:pt x="1349" y="974"/>
                    <a:pt x="1347" y="998"/>
                    <a:pt x="1343" y="1021"/>
                  </a:cubicBezTo>
                  <a:cubicBezTo>
                    <a:pt x="1328" y="1014"/>
                    <a:pt x="1314" y="1005"/>
                    <a:pt x="1299" y="996"/>
                  </a:cubicBezTo>
                  <a:cubicBezTo>
                    <a:pt x="1283" y="987"/>
                    <a:pt x="1274" y="994"/>
                    <a:pt x="1272" y="1009"/>
                  </a:cubicBezTo>
                  <a:cubicBezTo>
                    <a:pt x="1244" y="1200"/>
                    <a:pt x="1086" y="1341"/>
                    <a:pt x="894" y="1341"/>
                  </a:cubicBezTo>
                  <a:cubicBezTo>
                    <a:pt x="763" y="1341"/>
                    <a:pt x="691" y="1290"/>
                    <a:pt x="672" y="1250"/>
                  </a:cubicBezTo>
                  <a:cubicBezTo>
                    <a:pt x="662" y="1253"/>
                    <a:pt x="654" y="1262"/>
                    <a:pt x="654" y="1276"/>
                  </a:cubicBezTo>
                  <a:cubicBezTo>
                    <a:pt x="654" y="1300"/>
                    <a:pt x="694" y="1327"/>
                    <a:pt x="721" y="1340"/>
                  </a:cubicBezTo>
                  <a:cubicBezTo>
                    <a:pt x="761" y="1360"/>
                    <a:pt x="815" y="1377"/>
                    <a:pt x="894" y="1377"/>
                  </a:cubicBezTo>
                  <a:cubicBezTo>
                    <a:pt x="1095" y="1377"/>
                    <a:pt x="1261" y="1235"/>
                    <a:pt x="1303" y="1040"/>
                  </a:cubicBezTo>
                  <a:cubicBezTo>
                    <a:pt x="1314" y="1046"/>
                    <a:pt x="1325" y="1052"/>
                    <a:pt x="1337" y="1058"/>
                  </a:cubicBezTo>
                  <a:cubicBezTo>
                    <a:pt x="1290" y="1261"/>
                    <a:pt x="1113" y="1413"/>
                    <a:pt x="895" y="1413"/>
                  </a:cubicBezTo>
                  <a:cubicBezTo>
                    <a:pt x="713" y="1413"/>
                    <a:pt x="621" y="1325"/>
                    <a:pt x="616" y="1296"/>
                  </a:cubicBezTo>
                  <a:cubicBezTo>
                    <a:pt x="602" y="1296"/>
                    <a:pt x="594" y="1307"/>
                    <a:pt x="594" y="1320"/>
                  </a:cubicBezTo>
                  <a:cubicBezTo>
                    <a:pt x="594" y="1335"/>
                    <a:pt x="606" y="1350"/>
                    <a:pt x="619" y="1361"/>
                  </a:cubicBezTo>
                  <a:cubicBezTo>
                    <a:pt x="653" y="1392"/>
                    <a:pt x="738" y="1449"/>
                    <a:pt x="895" y="1449"/>
                  </a:cubicBezTo>
                  <a:cubicBezTo>
                    <a:pt x="1103" y="1449"/>
                    <a:pt x="1277" y="1320"/>
                    <a:pt x="1349" y="1138"/>
                  </a:cubicBezTo>
                  <a:cubicBezTo>
                    <a:pt x="1359" y="1143"/>
                    <a:pt x="1371" y="1147"/>
                    <a:pt x="1382" y="1152"/>
                  </a:cubicBezTo>
                  <a:cubicBezTo>
                    <a:pt x="1304" y="1348"/>
                    <a:pt x="1116" y="1485"/>
                    <a:pt x="894" y="1485"/>
                  </a:cubicBezTo>
                  <a:cubicBezTo>
                    <a:pt x="688" y="1485"/>
                    <a:pt x="549" y="1379"/>
                    <a:pt x="534" y="1297"/>
                  </a:cubicBezTo>
                  <a:cubicBezTo>
                    <a:pt x="522" y="1297"/>
                    <a:pt x="509" y="1308"/>
                    <a:pt x="509" y="1325"/>
                  </a:cubicBezTo>
                  <a:cubicBezTo>
                    <a:pt x="509" y="1338"/>
                    <a:pt x="520" y="1357"/>
                    <a:pt x="523" y="1362"/>
                  </a:cubicBezTo>
                  <a:cubicBezTo>
                    <a:pt x="554" y="1410"/>
                    <a:pt x="665" y="1521"/>
                    <a:pt x="894" y="1521"/>
                  </a:cubicBezTo>
                  <a:cubicBezTo>
                    <a:pt x="1132" y="1521"/>
                    <a:pt x="1334" y="1373"/>
                    <a:pt x="1416" y="1162"/>
                  </a:cubicBezTo>
                  <a:cubicBezTo>
                    <a:pt x="1455" y="1173"/>
                    <a:pt x="1501" y="1179"/>
                    <a:pt x="1557" y="1179"/>
                  </a:cubicBezTo>
                  <a:cubicBezTo>
                    <a:pt x="1928" y="1179"/>
                    <a:pt x="2065" y="901"/>
                    <a:pt x="2089" y="800"/>
                  </a:cubicBezTo>
                  <a:cubicBezTo>
                    <a:pt x="2104" y="734"/>
                    <a:pt x="2096" y="711"/>
                    <a:pt x="2062" y="711"/>
                  </a:cubicBezTo>
                  <a:close/>
                  <a:moveTo>
                    <a:pt x="1002" y="465"/>
                  </a:moveTo>
                  <a:cubicBezTo>
                    <a:pt x="964" y="456"/>
                    <a:pt x="925" y="451"/>
                    <a:pt x="885" y="451"/>
                  </a:cubicBezTo>
                  <a:cubicBezTo>
                    <a:pt x="610" y="451"/>
                    <a:pt x="386" y="675"/>
                    <a:pt x="386" y="950"/>
                  </a:cubicBezTo>
                  <a:cubicBezTo>
                    <a:pt x="386" y="982"/>
                    <a:pt x="388" y="1021"/>
                    <a:pt x="400" y="1055"/>
                  </a:cubicBezTo>
                  <a:cubicBezTo>
                    <a:pt x="364" y="1065"/>
                    <a:pt x="351" y="1028"/>
                    <a:pt x="351" y="984"/>
                  </a:cubicBezTo>
                  <a:cubicBezTo>
                    <a:pt x="351" y="984"/>
                    <a:pt x="351" y="979"/>
                    <a:pt x="351" y="968"/>
                  </a:cubicBezTo>
                  <a:cubicBezTo>
                    <a:pt x="354" y="837"/>
                    <a:pt x="385" y="763"/>
                    <a:pt x="385" y="763"/>
                  </a:cubicBezTo>
                  <a:cubicBezTo>
                    <a:pt x="422" y="661"/>
                    <a:pt x="490" y="577"/>
                    <a:pt x="577" y="514"/>
                  </a:cubicBezTo>
                  <a:cubicBezTo>
                    <a:pt x="667" y="449"/>
                    <a:pt x="774" y="415"/>
                    <a:pt x="885" y="415"/>
                  </a:cubicBezTo>
                  <a:cubicBezTo>
                    <a:pt x="928" y="415"/>
                    <a:pt x="971" y="420"/>
                    <a:pt x="1012" y="430"/>
                  </a:cubicBezTo>
                  <a:cubicBezTo>
                    <a:pt x="1008" y="441"/>
                    <a:pt x="1005" y="453"/>
                    <a:pt x="1002" y="465"/>
                  </a:cubicBezTo>
                  <a:close/>
                  <a:moveTo>
                    <a:pt x="1162" y="535"/>
                  </a:moveTo>
                  <a:cubicBezTo>
                    <a:pt x="1166" y="523"/>
                    <a:pt x="1169" y="511"/>
                    <a:pt x="1173" y="499"/>
                  </a:cubicBezTo>
                  <a:cubicBezTo>
                    <a:pt x="1324" y="595"/>
                    <a:pt x="1421" y="764"/>
                    <a:pt x="1421" y="950"/>
                  </a:cubicBezTo>
                  <a:cubicBezTo>
                    <a:pt x="1421" y="959"/>
                    <a:pt x="1420" y="968"/>
                    <a:pt x="1420" y="978"/>
                  </a:cubicBezTo>
                  <a:cubicBezTo>
                    <a:pt x="1406" y="973"/>
                    <a:pt x="1394" y="969"/>
                    <a:pt x="1384" y="964"/>
                  </a:cubicBezTo>
                  <a:cubicBezTo>
                    <a:pt x="1384" y="960"/>
                    <a:pt x="1384" y="955"/>
                    <a:pt x="1384" y="950"/>
                  </a:cubicBezTo>
                  <a:cubicBezTo>
                    <a:pt x="1384" y="777"/>
                    <a:pt x="1296" y="625"/>
                    <a:pt x="1162" y="5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4104936430"/>
      </p:ext>
    </p:extLst>
  </p:cSld>
  <p:clrMapOvr>
    <a:masterClrMapping/>
  </p:clrMapOvr>
  <p:extLst>
    <p:ext uri="{DCECCB84-F9BA-43D5-87BE-67443E8EF086}">
      <p15:sldGuideLst xmlns:p15="http://schemas.microsoft.com/office/powerpoint/2012/main">
        <p15:guide id="1" pos="674" userDrawn="1">
          <p15:clr>
            <a:srgbClr val="FBAE40"/>
          </p15:clr>
        </p15:guide>
        <p15:guide id="2" orient="horz" pos="1350" userDrawn="1">
          <p15:clr>
            <a:srgbClr val="FBAE40"/>
          </p15:clr>
        </p15:guide>
        <p15:guide id="3" orient="horz" pos="201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6_Cover_approved_question_wid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04469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9"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bwMode="invGray">
          <a:xfrm>
            <a:off x="622940"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8" name="Title 1"/>
          <p:cNvSpPr>
            <a:spLocks noGrp="1"/>
          </p:cNvSpPr>
          <p:nvPr userDrawn="1">
            <p:ph type="ctrTitle" hasCustomPrompt="1"/>
          </p:nvPr>
        </p:nvSpPr>
        <p:spPr>
          <a:xfrm>
            <a:off x="1069705" y="2158329"/>
            <a:ext cx="4808220"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19" name="Subtitle 2"/>
          <p:cNvSpPr>
            <a:spLocks noGrp="1"/>
          </p:cNvSpPr>
          <p:nvPr userDrawn="1">
            <p:ph type="subTitle" idx="1" hasCustomPrompt="1"/>
          </p:nvPr>
        </p:nvSpPr>
        <p:spPr>
          <a:xfrm>
            <a:off x="1069975" y="3200329"/>
            <a:ext cx="4807950" cy="645742"/>
          </a:xfrm>
          <a:prstGeom prst="rect">
            <a:avLst/>
          </a:prstGeom>
        </p:spPr>
        <p:txBody>
          <a:bodyPr>
            <a:noAutofit/>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614191"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US" noProof="0" dirty="0"/>
          </a:p>
        </p:txBody>
      </p:sp>
      <p:sp>
        <p:nvSpPr>
          <p:cNvPr id="4" name="Freeform: Shape 3">
            <a:extLst>
              <a:ext uri="{FF2B5EF4-FFF2-40B4-BE49-F238E27FC236}">
                <a16:creationId xmlns:a16="http://schemas.microsoft.com/office/drawing/2014/main" id="{15324C54-B75E-4AC0-90C2-FA558C7716F7}"/>
              </a:ext>
            </a:extLst>
          </p:cNvPr>
          <p:cNvSpPr/>
          <p:nvPr/>
        </p:nvSpPr>
        <p:spPr>
          <a:xfrm>
            <a:off x="614191"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sp>
        <p:nvSpPr>
          <p:cNvPr id="5" name="Freeform: Shape 4">
            <a:extLst>
              <a:ext uri="{FF2B5EF4-FFF2-40B4-BE49-F238E27FC236}">
                <a16:creationId xmlns:a16="http://schemas.microsoft.com/office/drawing/2014/main" id="{CAA95478-C099-485F-AD95-A617656C6C7C}"/>
              </a:ext>
            </a:extLst>
          </p:cNvPr>
          <p:cNvSpPr/>
          <p:nvPr/>
        </p:nvSpPr>
        <p:spPr>
          <a:xfrm>
            <a:off x="899522"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184735"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invGray">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0"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7"/>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grpSp>
        <p:nvGrpSpPr>
          <p:cNvPr id="79" name="Gruppieren 78"/>
          <p:cNvGrpSpPr/>
          <p:nvPr userDrawn="1"/>
        </p:nvGrpSpPr>
        <p:grpSpPr bwMode="invGray">
          <a:xfrm>
            <a:off x="9713775" y="440057"/>
            <a:ext cx="1868402" cy="962657"/>
            <a:chOff x="9731769" y="638177"/>
            <a:chExt cx="2017456" cy="1039454"/>
          </a:xfrm>
        </p:grpSpPr>
        <p:sp>
          <p:nvSpPr>
            <p:cNvPr id="81" name="Freeform 5">
              <a:extLst>
                <a:ext uri="{FF2B5EF4-FFF2-40B4-BE49-F238E27FC236}">
                  <a16:creationId xmlns:a16="http://schemas.microsoft.com/office/drawing/2014/main" id="{8A9BDB58-231B-4B70-8059-20CAA94E9F64}"/>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2" name="Freeform 6">
              <a:extLst>
                <a:ext uri="{FF2B5EF4-FFF2-40B4-BE49-F238E27FC236}">
                  <a16:creationId xmlns:a16="http://schemas.microsoft.com/office/drawing/2014/main" id="{97DAE07B-DE87-4358-BA44-6531EF3573CD}"/>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7">
              <a:extLst>
                <a:ext uri="{FF2B5EF4-FFF2-40B4-BE49-F238E27FC236}">
                  <a16:creationId xmlns:a16="http://schemas.microsoft.com/office/drawing/2014/main" id="{39829C97-B9FD-4508-8651-C460629865A1}"/>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4" name="Freeform 8">
              <a:extLst>
                <a:ext uri="{FF2B5EF4-FFF2-40B4-BE49-F238E27FC236}">
                  <a16:creationId xmlns:a16="http://schemas.microsoft.com/office/drawing/2014/main" id="{E6E8D961-2633-4DD4-9603-DC987B33CBF8}"/>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5" name="Freeform 9">
              <a:extLst>
                <a:ext uri="{FF2B5EF4-FFF2-40B4-BE49-F238E27FC236}">
                  <a16:creationId xmlns:a16="http://schemas.microsoft.com/office/drawing/2014/main" id="{F4A1F26E-26EA-44D8-8D11-97229CEC2530}"/>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10">
              <a:extLst>
                <a:ext uri="{FF2B5EF4-FFF2-40B4-BE49-F238E27FC236}">
                  <a16:creationId xmlns:a16="http://schemas.microsoft.com/office/drawing/2014/main" id="{45C1803D-4651-4E80-B712-F3F311657C4D}"/>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7" name="Freeform 11">
              <a:extLst>
                <a:ext uri="{FF2B5EF4-FFF2-40B4-BE49-F238E27FC236}">
                  <a16:creationId xmlns:a16="http://schemas.microsoft.com/office/drawing/2014/main" id="{711CC3A8-EDFC-4EAE-A2DC-ACDC3B1D9DEB}"/>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8" name="Freeform 12">
              <a:extLst>
                <a:ext uri="{FF2B5EF4-FFF2-40B4-BE49-F238E27FC236}">
                  <a16:creationId xmlns:a16="http://schemas.microsoft.com/office/drawing/2014/main" id="{C17A032D-DB72-46B0-B4C8-EE8C8CC504F2}"/>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13">
              <a:extLst>
                <a:ext uri="{FF2B5EF4-FFF2-40B4-BE49-F238E27FC236}">
                  <a16:creationId xmlns:a16="http://schemas.microsoft.com/office/drawing/2014/main" id="{2280FDE2-015D-4B7A-8900-05F5FB783060}"/>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0" name="Freeform 14">
              <a:extLst>
                <a:ext uri="{FF2B5EF4-FFF2-40B4-BE49-F238E27FC236}">
                  <a16:creationId xmlns:a16="http://schemas.microsoft.com/office/drawing/2014/main" id="{D3D1BB3D-6AD6-4BE1-893D-EBCB285005E9}"/>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1" name="Freeform 15">
              <a:extLst>
                <a:ext uri="{FF2B5EF4-FFF2-40B4-BE49-F238E27FC236}">
                  <a16:creationId xmlns:a16="http://schemas.microsoft.com/office/drawing/2014/main" id="{98B7DF92-85DC-454B-9A4B-F9A35E6A3C3A}"/>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2" name="Freeform 16">
              <a:extLst>
                <a:ext uri="{FF2B5EF4-FFF2-40B4-BE49-F238E27FC236}">
                  <a16:creationId xmlns:a16="http://schemas.microsoft.com/office/drawing/2014/main" id="{42944BA6-F9C0-48FA-B96D-E1DF6E30FA74}"/>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3" name="Freeform 17">
              <a:extLst>
                <a:ext uri="{FF2B5EF4-FFF2-40B4-BE49-F238E27FC236}">
                  <a16:creationId xmlns:a16="http://schemas.microsoft.com/office/drawing/2014/main" id="{AD76CDEE-75C6-43F6-B367-6EF14BC3B7FE}"/>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4" name="Freeform 18">
              <a:extLst>
                <a:ext uri="{FF2B5EF4-FFF2-40B4-BE49-F238E27FC236}">
                  <a16:creationId xmlns:a16="http://schemas.microsoft.com/office/drawing/2014/main" id="{DACB136F-C6ED-433D-9631-749BCDC77B78}"/>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5" name="Freeform 19">
              <a:extLst>
                <a:ext uri="{FF2B5EF4-FFF2-40B4-BE49-F238E27FC236}">
                  <a16:creationId xmlns:a16="http://schemas.microsoft.com/office/drawing/2014/main" id="{922FADCD-4917-47C7-ADDB-1574B3C49CA8}"/>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6" name="Freeform 20">
              <a:extLst>
                <a:ext uri="{FF2B5EF4-FFF2-40B4-BE49-F238E27FC236}">
                  <a16:creationId xmlns:a16="http://schemas.microsoft.com/office/drawing/2014/main" id="{EEA96631-7CCE-49D6-A700-D76FF986E47F}"/>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7" name="Freeform 21">
              <a:extLst>
                <a:ext uri="{FF2B5EF4-FFF2-40B4-BE49-F238E27FC236}">
                  <a16:creationId xmlns:a16="http://schemas.microsoft.com/office/drawing/2014/main" id="{4BB24B6E-8D3D-449A-850B-52F8A8EF40A7}"/>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8" name="Freeform 22">
              <a:extLst>
                <a:ext uri="{FF2B5EF4-FFF2-40B4-BE49-F238E27FC236}">
                  <a16:creationId xmlns:a16="http://schemas.microsoft.com/office/drawing/2014/main" id="{767CA49F-CF78-4517-9D40-459A6165DB66}"/>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9" name="Freeform 23">
              <a:extLst>
                <a:ext uri="{FF2B5EF4-FFF2-40B4-BE49-F238E27FC236}">
                  <a16:creationId xmlns:a16="http://schemas.microsoft.com/office/drawing/2014/main" id="{BCE97B83-65DD-49DB-AC39-56BB28ACA966}"/>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0" name="Freeform 24">
              <a:extLst>
                <a:ext uri="{FF2B5EF4-FFF2-40B4-BE49-F238E27FC236}">
                  <a16:creationId xmlns:a16="http://schemas.microsoft.com/office/drawing/2014/main" id="{3A70ECD6-5CB1-4ABC-BD20-5CD3C4FFDF5E}"/>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25">
              <a:extLst>
                <a:ext uri="{FF2B5EF4-FFF2-40B4-BE49-F238E27FC236}">
                  <a16:creationId xmlns:a16="http://schemas.microsoft.com/office/drawing/2014/main" id="{5A85C156-A249-4B2C-8A44-A8D8A3A0EEFE}"/>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2" name="Freeform 26">
              <a:extLst>
                <a:ext uri="{FF2B5EF4-FFF2-40B4-BE49-F238E27FC236}">
                  <a16:creationId xmlns:a16="http://schemas.microsoft.com/office/drawing/2014/main" id="{91225174-20DB-4A4F-A5BB-9A114EDC0F3E}"/>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3" name="Freeform 27">
              <a:extLst>
                <a:ext uri="{FF2B5EF4-FFF2-40B4-BE49-F238E27FC236}">
                  <a16:creationId xmlns:a16="http://schemas.microsoft.com/office/drawing/2014/main" id="{43682DD6-D2ED-4863-B27B-40F3CBE0E381}"/>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4" name="Freeform 28">
              <a:extLst>
                <a:ext uri="{FF2B5EF4-FFF2-40B4-BE49-F238E27FC236}">
                  <a16:creationId xmlns:a16="http://schemas.microsoft.com/office/drawing/2014/main" id="{3D572001-B851-4D74-9AAD-13EE61D916F6}"/>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5" name="Freeform 29">
              <a:extLst>
                <a:ext uri="{FF2B5EF4-FFF2-40B4-BE49-F238E27FC236}">
                  <a16:creationId xmlns:a16="http://schemas.microsoft.com/office/drawing/2014/main" id="{A827519A-33F0-4CCB-AE07-C95A795FF2FB}"/>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6" name="Freeform 30">
              <a:extLst>
                <a:ext uri="{FF2B5EF4-FFF2-40B4-BE49-F238E27FC236}">
                  <a16:creationId xmlns:a16="http://schemas.microsoft.com/office/drawing/2014/main" id="{4BC09A9F-8959-48BA-9B94-7840D333316F}"/>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7" name="Freeform 31">
              <a:extLst>
                <a:ext uri="{FF2B5EF4-FFF2-40B4-BE49-F238E27FC236}">
                  <a16:creationId xmlns:a16="http://schemas.microsoft.com/office/drawing/2014/main" id="{125CF3D1-4644-4A4C-A605-6CBB28099392}"/>
                </a:ext>
              </a:extLst>
            </p:cNvPr>
            <p:cNvSpPr>
              <a:spLocks/>
            </p:cNvSpPr>
            <p:nvPr/>
          </p:nvSpPr>
          <p:spPr bwMode="invGray">
            <a:xfrm>
              <a:off x="11214461" y="970279"/>
              <a:ext cx="83679" cy="112444"/>
            </a:xfrm>
            <a:custGeom>
              <a:avLst/>
              <a:gdLst>
                <a:gd name="T0" fmla="*/ 123 w 123"/>
                <a:gd name="T1" fmla="*/ 94 h 165"/>
                <a:gd name="T2" fmla="*/ 107 w 123"/>
                <a:gd name="T3" fmla="*/ 147 h 165"/>
                <a:gd name="T4" fmla="*/ 62 w 123"/>
                <a:gd name="T5" fmla="*/ 165 h 165"/>
                <a:gd name="T6" fmla="*/ 39 w 123"/>
                <a:gd name="T7" fmla="*/ 161 h 165"/>
                <a:gd name="T8" fmla="*/ 22 w 123"/>
                <a:gd name="T9" fmla="*/ 151 h 165"/>
                <a:gd name="T10" fmla="*/ 8 w 123"/>
                <a:gd name="T11" fmla="*/ 136 h 165"/>
                <a:gd name="T12" fmla="*/ 0 w 123"/>
                <a:gd name="T13" fmla="*/ 117 h 165"/>
                <a:gd name="T14" fmla="*/ 31 w 123"/>
                <a:gd name="T15" fmla="*/ 108 h 165"/>
                <a:gd name="T16" fmla="*/ 36 w 123"/>
                <a:gd name="T17" fmla="*/ 119 h 165"/>
                <a:gd name="T18" fmla="*/ 43 w 123"/>
                <a:gd name="T19" fmla="*/ 126 h 165"/>
                <a:gd name="T20" fmla="*/ 51 w 123"/>
                <a:gd name="T21" fmla="*/ 131 h 165"/>
                <a:gd name="T22" fmla="*/ 62 w 123"/>
                <a:gd name="T23" fmla="*/ 132 h 165"/>
                <a:gd name="T24" fmla="*/ 75 w 123"/>
                <a:gd name="T25" fmla="*/ 130 h 165"/>
                <a:gd name="T26" fmla="*/ 84 w 123"/>
                <a:gd name="T27" fmla="*/ 123 h 165"/>
                <a:gd name="T28" fmla="*/ 89 w 123"/>
                <a:gd name="T29" fmla="*/ 111 h 165"/>
                <a:gd name="T30" fmla="*/ 91 w 123"/>
                <a:gd name="T31" fmla="*/ 95 h 165"/>
                <a:gd name="T32" fmla="*/ 91 w 123"/>
                <a:gd name="T33" fmla="*/ 0 h 165"/>
                <a:gd name="T34" fmla="*/ 123 w 123"/>
                <a:gd name="T35" fmla="*/ 0 h 165"/>
                <a:gd name="T36" fmla="*/ 123 w 123"/>
                <a:gd name="T37" fmla="*/ 9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65">
                  <a:moveTo>
                    <a:pt x="123" y="94"/>
                  </a:moveTo>
                  <a:cubicBezTo>
                    <a:pt x="123" y="117"/>
                    <a:pt x="118" y="135"/>
                    <a:pt x="107" y="147"/>
                  </a:cubicBezTo>
                  <a:cubicBezTo>
                    <a:pt x="97" y="159"/>
                    <a:pt x="81" y="165"/>
                    <a:pt x="62" y="165"/>
                  </a:cubicBezTo>
                  <a:cubicBezTo>
                    <a:pt x="54" y="165"/>
                    <a:pt x="46" y="163"/>
                    <a:pt x="39" y="161"/>
                  </a:cubicBezTo>
                  <a:cubicBezTo>
                    <a:pt x="33" y="159"/>
                    <a:pt x="27" y="155"/>
                    <a:pt x="22" y="151"/>
                  </a:cubicBezTo>
                  <a:cubicBezTo>
                    <a:pt x="16" y="147"/>
                    <a:pt x="12" y="142"/>
                    <a:pt x="8" y="136"/>
                  </a:cubicBezTo>
                  <a:cubicBezTo>
                    <a:pt x="4" y="130"/>
                    <a:pt x="2" y="124"/>
                    <a:pt x="0" y="117"/>
                  </a:cubicBezTo>
                  <a:cubicBezTo>
                    <a:pt x="31" y="108"/>
                    <a:pt x="31" y="108"/>
                    <a:pt x="31" y="108"/>
                  </a:cubicBezTo>
                  <a:cubicBezTo>
                    <a:pt x="33" y="113"/>
                    <a:pt x="35" y="116"/>
                    <a:pt x="36" y="119"/>
                  </a:cubicBezTo>
                  <a:cubicBezTo>
                    <a:pt x="38" y="122"/>
                    <a:pt x="40" y="124"/>
                    <a:pt x="43" y="126"/>
                  </a:cubicBezTo>
                  <a:cubicBezTo>
                    <a:pt x="45" y="128"/>
                    <a:pt x="48" y="130"/>
                    <a:pt x="51" y="131"/>
                  </a:cubicBezTo>
                  <a:cubicBezTo>
                    <a:pt x="54" y="132"/>
                    <a:pt x="58" y="132"/>
                    <a:pt x="62" y="132"/>
                  </a:cubicBezTo>
                  <a:cubicBezTo>
                    <a:pt x="67" y="132"/>
                    <a:pt x="71" y="131"/>
                    <a:pt x="75" y="130"/>
                  </a:cubicBezTo>
                  <a:cubicBezTo>
                    <a:pt x="78" y="128"/>
                    <a:pt x="81" y="126"/>
                    <a:pt x="84" y="123"/>
                  </a:cubicBezTo>
                  <a:cubicBezTo>
                    <a:pt x="86" y="119"/>
                    <a:pt x="88" y="115"/>
                    <a:pt x="89" y="111"/>
                  </a:cubicBezTo>
                  <a:cubicBezTo>
                    <a:pt x="90" y="106"/>
                    <a:pt x="91" y="101"/>
                    <a:pt x="91" y="95"/>
                  </a:cubicBezTo>
                  <a:cubicBezTo>
                    <a:pt x="91" y="0"/>
                    <a:pt x="91" y="0"/>
                    <a:pt x="91" y="0"/>
                  </a:cubicBezTo>
                  <a:cubicBezTo>
                    <a:pt x="123" y="0"/>
                    <a:pt x="123" y="0"/>
                    <a:pt x="123" y="0"/>
                  </a:cubicBezTo>
                  <a:lnTo>
                    <a:pt x="123" y="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8" name="Freeform 32">
              <a:extLst>
                <a:ext uri="{FF2B5EF4-FFF2-40B4-BE49-F238E27FC236}">
                  <a16:creationId xmlns:a16="http://schemas.microsoft.com/office/drawing/2014/main" id="{5C66EC1B-AD1B-491B-A19A-A2C96C78BC6A}"/>
                </a:ext>
              </a:extLst>
            </p:cNvPr>
            <p:cNvSpPr>
              <a:spLocks noEditPoints="1"/>
            </p:cNvSpPr>
            <p:nvPr/>
          </p:nvSpPr>
          <p:spPr bwMode="invGray">
            <a:xfrm>
              <a:off x="11312522" y="970279"/>
              <a:ext cx="105907" cy="111137"/>
            </a:xfrm>
            <a:custGeom>
              <a:avLst/>
              <a:gdLst>
                <a:gd name="T0" fmla="*/ 81 w 81"/>
                <a:gd name="T1" fmla="*/ 85 h 85"/>
                <a:gd name="T2" fmla="*/ 63 w 81"/>
                <a:gd name="T3" fmla="*/ 85 h 85"/>
                <a:gd name="T4" fmla="*/ 56 w 81"/>
                <a:gd name="T5" fmla="*/ 66 h 85"/>
                <a:gd name="T6" fmla="*/ 24 w 81"/>
                <a:gd name="T7" fmla="*/ 66 h 85"/>
                <a:gd name="T8" fmla="*/ 18 w 81"/>
                <a:gd name="T9" fmla="*/ 85 h 85"/>
                <a:gd name="T10" fmla="*/ 0 w 81"/>
                <a:gd name="T11" fmla="*/ 85 h 85"/>
                <a:gd name="T12" fmla="*/ 32 w 81"/>
                <a:gd name="T13" fmla="*/ 0 h 85"/>
                <a:gd name="T14" fmla="*/ 49 w 81"/>
                <a:gd name="T15" fmla="*/ 0 h 85"/>
                <a:gd name="T16" fmla="*/ 81 w 81"/>
                <a:gd name="T17" fmla="*/ 85 h 85"/>
                <a:gd name="T18" fmla="*/ 50 w 81"/>
                <a:gd name="T19" fmla="*/ 50 h 85"/>
                <a:gd name="T20" fmla="*/ 40 w 81"/>
                <a:gd name="T21" fmla="*/ 22 h 85"/>
                <a:gd name="T22" fmla="*/ 31 w 81"/>
                <a:gd name="T23" fmla="*/ 50 h 85"/>
                <a:gd name="T24" fmla="*/ 50 w 81"/>
                <a:gd name="T25"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5">
                  <a:moveTo>
                    <a:pt x="81" y="85"/>
                  </a:moveTo>
                  <a:lnTo>
                    <a:pt x="63" y="85"/>
                  </a:lnTo>
                  <a:lnTo>
                    <a:pt x="56" y="66"/>
                  </a:lnTo>
                  <a:lnTo>
                    <a:pt x="24" y="66"/>
                  </a:lnTo>
                  <a:lnTo>
                    <a:pt x="18" y="85"/>
                  </a:lnTo>
                  <a:lnTo>
                    <a:pt x="0" y="85"/>
                  </a:lnTo>
                  <a:lnTo>
                    <a:pt x="32" y="0"/>
                  </a:lnTo>
                  <a:lnTo>
                    <a:pt x="49" y="0"/>
                  </a:lnTo>
                  <a:lnTo>
                    <a:pt x="81" y="85"/>
                  </a:lnTo>
                  <a:close/>
                  <a:moveTo>
                    <a:pt x="50" y="50"/>
                  </a:moveTo>
                  <a:lnTo>
                    <a:pt x="40" y="22"/>
                  </a:lnTo>
                  <a:lnTo>
                    <a:pt x="31" y="50"/>
                  </a:lnTo>
                  <a:lnTo>
                    <a:pt x="50"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9" name="Freeform 33">
              <a:extLst>
                <a:ext uri="{FF2B5EF4-FFF2-40B4-BE49-F238E27FC236}">
                  <a16:creationId xmlns:a16="http://schemas.microsoft.com/office/drawing/2014/main" id="{DE0C7275-54C1-4C0E-A900-3BA9CF18FC7F}"/>
                </a:ext>
              </a:extLst>
            </p:cNvPr>
            <p:cNvSpPr>
              <a:spLocks/>
            </p:cNvSpPr>
            <p:nvPr/>
          </p:nvSpPr>
          <p:spPr bwMode="invGray">
            <a:xfrm>
              <a:off x="11439349" y="970279"/>
              <a:ext cx="88909" cy="111137"/>
            </a:xfrm>
            <a:custGeom>
              <a:avLst/>
              <a:gdLst>
                <a:gd name="T0" fmla="*/ 51 w 68"/>
                <a:gd name="T1" fmla="*/ 85 h 85"/>
                <a:gd name="T2" fmla="*/ 51 w 68"/>
                <a:gd name="T3" fmla="*/ 49 h 85"/>
                <a:gd name="T4" fmla="*/ 17 w 68"/>
                <a:gd name="T5" fmla="*/ 49 h 85"/>
                <a:gd name="T6" fmla="*/ 17 w 68"/>
                <a:gd name="T7" fmla="*/ 85 h 85"/>
                <a:gd name="T8" fmla="*/ 0 w 68"/>
                <a:gd name="T9" fmla="*/ 85 h 85"/>
                <a:gd name="T10" fmla="*/ 0 w 68"/>
                <a:gd name="T11" fmla="*/ 0 h 85"/>
                <a:gd name="T12" fmla="*/ 17 w 68"/>
                <a:gd name="T13" fmla="*/ 0 h 85"/>
                <a:gd name="T14" fmla="*/ 17 w 68"/>
                <a:gd name="T15" fmla="*/ 33 h 85"/>
                <a:gd name="T16" fmla="*/ 51 w 68"/>
                <a:gd name="T17" fmla="*/ 33 h 85"/>
                <a:gd name="T18" fmla="*/ 51 w 68"/>
                <a:gd name="T19" fmla="*/ 0 h 85"/>
                <a:gd name="T20" fmla="*/ 68 w 68"/>
                <a:gd name="T21" fmla="*/ 0 h 85"/>
                <a:gd name="T22" fmla="*/ 68 w 68"/>
                <a:gd name="T23" fmla="*/ 85 h 85"/>
                <a:gd name="T24" fmla="*/ 51 w 68"/>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5">
                  <a:moveTo>
                    <a:pt x="51" y="85"/>
                  </a:moveTo>
                  <a:lnTo>
                    <a:pt x="51" y="49"/>
                  </a:lnTo>
                  <a:lnTo>
                    <a:pt x="17" y="49"/>
                  </a:lnTo>
                  <a:lnTo>
                    <a:pt x="17" y="85"/>
                  </a:lnTo>
                  <a:lnTo>
                    <a:pt x="0" y="85"/>
                  </a:lnTo>
                  <a:lnTo>
                    <a:pt x="0" y="0"/>
                  </a:lnTo>
                  <a:lnTo>
                    <a:pt x="17" y="0"/>
                  </a:lnTo>
                  <a:lnTo>
                    <a:pt x="17" y="33"/>
                  </a:lnTo>
                  <a:lnTo>
                    <a:pt x="51" y="33"/>
                  </a:lnTo>
                  <a:lnTo>
                    <a:pt x="51" y="0"/>
                  </a:lnTo>
                  <a:lnTo>
                    <a:pt x="68" y="0"/>
                  </a:lnTo>
                  <a:lnTo>
                    <a:pt x="68" y="85"/>
                  </a:lnTo>
                  <a:lnTo>
                    <a:pt x="5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0" name="Freeform 34">
              <a:extLst>
                <a:ext uri="{FF2B5EF4-FFF2-40B4-BE49-F238E27FC236}">
                  <a16:creationId xmlns:a16="http://schemas.microsoft.com/office/drawing/2014/main" id="{0A332B72-1C98-486F-B1D7-FD53CDB0B0EC}"/>
                </a:ext>
              </a:extLst>
            </p:cNvPr>
            <p:cNvSpPr>
              <a:spLocks noEditPoints="1"/>
            </p:cNvSpPr>
            <p:nvPr/>
          </p:nvSpPr>
          <p:spPr bwMode="invGray">
            <a:xfrm>
              <a:off x="11557023" y="970279"/>
              <a:ext cx="90217" cy="111137"/>
            </a:xfrm>
            <a:custGeom>
              <a:avLst/>
              <a:gdLst>
                <a:gd name="T0" fmla="*/ 94 w 131"/>
                <a:gd name="T1" fmla="*/ 162 h 162"/>
                <a:gd name="T2" fmla="*/ 65 w 131"/>
                <a:gd name="T3" fmla="*/ 104 h 162"/>
                <a:gd name="T4" fmla="*/ 32 w 131"/>
                <a:gd name="T5" fmla="*/ 104 h 162"/>
                <a:gd name="T6" fmla="*/ 32 w 131"/>
                <a:gd name="T7" fmla="*/ 162 h 162"/>
                <a:gd name="T8" fmla="*/ 0 w 131"/>
                <a:gd name="T9" fmla="*/ 162 h 162"/>
                <a:gd name="T10" fmla="*/ 0 w 131"/>
                <a:gd name="T11" fmla="*/ 0 h 162"/>
                <a:gd name="T12" fmla="*/ 75 w 131"/>
                <a:gd name="T13" fmla="*/ 0 h 162"/>
                <a:gd name="T14" fmla="*/ 97 w 131"/>
                <a:gd name="T15" fmla="*/ 3 h 162"/>
                <a:gd name="T16" fmla="*/ 115 w 131"/>
                <a:gd name="T17" fmla="*/ 12 h 162"/>
                <a:gd name="T18" fmla="*/ 127 w 131"/>
                <a:gd name="T19" fmla="*/ 29 h 162"/>
                <a:gd name="T20" fmla="*/ 131 w 131"/>
                <a:gd name="T21" fmla="*/ 51 h 162"/>
                <a:gd name="T22" fmla="*/ 129 w 131"/>
                <a:gd name="T23" fmla="*/ 68 h 162"/>
                <a:gd name="T24" fmla="*/ 123 w 131"/>
                <a:gd name="T25" fmla="*/ 81 h 162"/>
                <a:gd name="T26" fmla="*/ 113 w 131"/>
                <a:gd name="T27" fmla="*/ 92 h 162"/>
                <a:gd name="T28" fmla="*/ 100 w 131"/>
                <a:gd name="T29" fmla="*/ 99 h 162"/>
                <a:gd name="T30" fmla="*/ 131 w 131"/>
                <a:gd name="T31" fmla="*/ 162 h 162"/>
                <a:gd name="T32" fmla="*/ 94 w 131"/>
                <a:gd name="T33" fmla="*/ 162 h 162"/>
                <a:gd name="T34" fmla="*/ 98 w 131"/>
                <a:gd name="T35" fmla="*/ 52 h 162"/>
                <a:gd name="T36" fmla="*/ 96 w 131"/>
                <a:gd name="T37" fmla="*/ 42 h 162"/>
                <a:gd name="T38" fmla="*/ 91 w 131"/>
                <a:gd name="T39" fmla="*/ 36 h 162"/>
                <a:gd name="T40" fmla="*/ 84 w 131"/>
                <a:gd name="T41" fmla="*/ 32 h 162"/>
                <a:gd name="T42" fmla="*/ 75 w 131"/>
                <a:gd name="T43" fmla="*/ 31 h 162"/>
                <a:gd name="T44" fmla="*/ 32 w 131"/>
                <a:gd name="T45" fmla="*/ 31 h 162"/>
                <a:gd name="T46" fmla="*/ 32 w 131"/>
                <a:gd name="T47" fmla="*/ 73 h 162"/>
                <a:gd name="T48" fmla="*/ 75 w 131"/>
                <a:gd name="T49" fmla="*/ 73 h 162"/>
                <a:gd name="T50" fmla="*/ 85 w 131"/>
                <a:gd name="T51" fmla="*/ 72 h 162"/>
                <a:gd name="T52" fmla="*/ 92 w 131"/>
                <a:gd name="T53" fmla="*/ 67 h 162"/>
                <a:gd name="T54" fmla="*/ 96 w 131"/>
                <a:gd name="T55" fmla="*/ 61 h 162"/>
                <a:gd name="T56" fmla="*/ 98 w 131"/>
                <a:gd name="T57" fmla="*/ 5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 h="162">
                  <a:moveTo>
                    <a:pt x="94" y="162"/>
                  </a:moveTo>
                  <a:cubicBezTo>
                    <a:pt x="65" y="104"/>
                    <a:pt x="65" y="104"/>
                    <a:pt x="65" y="104"/>
                  </a:cubicBezTo>
                  <a:cubicBezTo>
                    <a:pt x="32" y="104"/>
                    <a:pt x="32" y="104"/>
                    <a:pt x="32" y="104"/>
                  </a:cubicBezTo>
                  <a:cubicBezTo>
                    <a:pt x="32" y="162"/>
                    <a:pt x="32" y="162"/>
                    <a:pt x="32" y="162"/>
                  </a:cubicBezTo>
                  <a:cubicBezTo>
                    <a:pt x="0" y="162"/>
                    <a:pt x="0" y="162"/>
                    <a:pt x="0" y="162"/>
                  </a:cubicBezTo>
                  <a:cubicBezTo>
                    <a:pt x="0" y="0"/>
                    <a:pt x="0" y="0"/>
                    <a:pt x="0" y="0"/>
                  </a:cubicBezTo>
                  <a:cubicBezTo>
                    <a:pt x="75" y="0"/>
                    <a:pt x="75" y="0"/>
                    <a:pt x="75" y="0"/>
                  </a:cubicBezTo>
                  <a:cubicBezTo>
                    <a:pt x="83" y="0"/>
                    <a:pt x="90" y="1"/>
                    <a:pt x="97" y="3"/>
                  </a:cubicBezTo>
                  <a:cubicBezTo>
                    <a:pt x="104" y="5"/>
                    <a:pt x="110" y="8"/>
                    <a:pt x="115" y="12"/>
                  </a:cubicBezTo>
                  <a:cubicBezTo>
                    <a:pt x="120" y="17"/>
                    <a:pt x="124" y="22"/>
                    <a:pt x="127" y="29"/>
                  </a:cubicBezTo>
                  <a:cubicBezTo>
                    <a:pt x="130" y="35"/>
                    <a:pt x="131" y="42"/>
                    <a:pt x="131" y="51"/>
                  </a:cubicBezTo>
                  <a:cubicBezTo>
                    <a:pt x="131" y="58"/>
                    <a:pt x="130" y="63"/>
                    <a:pt x="129" y="68"/>
                  </a:cubicBezTo>
                  <a:cubicBezTo>
                    <a:pt x="128" y="73"/>
                    <a:pt x="126" y="78"/>
                    <a:pt x="123" y="81"/>
                  </a:cubicBezTo>
                  <a:cubicBezTo>
                    <a:pt x="120" y="85"/>
                    <a:pt x="117" y="89"/>
                    <a:pt x="113" y="92"/>
                  </a:cubicBezTo>
                  <a:cubicBezTo>
                    <a:pt x="110" y="94"/>
                    <a:pt x="105" y="97"/>
                    <a:pt x="100" y="99"/>
                  </a:cubicBezTo>
                  <a:cubicBezTo>
                    <a:pt x="131" y="162"/>
                    <a:pt x="131" y="162"/>
                    <a:pt x="131" y="162"/>
                  </a:cubicBezTo>
                  <a:lnTo>
                    <a:pt x="94" y="162"/>
                  </a:lnTo>
                  <a:close/>
                  <a:moveTo>
                    <a:pt x="98" y="52"/>
                  </a:moveTo>
                  <a:cubicBezTo>
                    <a:pt x="98" y="48"/>
                    <a:pt x="97" y="45"/>
                    <a:pt x="96" y="42"/>
                  </a:cubicBezTo>
                  <a:cubicBezTo>
                    <a:pt x="95" y="39"/>
                    <a:pt x="93" y="37"/>
                    <a:pt x="91" y="36"/>
                  </a:cubicBezTo>
                  <a:cubicBezTo>
                    <a:pt x="89" y="34"/>
                    <a:pt x="86" y="33"/>
                    <a:pt x="84" y="32"/>
                  </a:cubicBezTo>
                  <a:cubicBezTo>
                    <a:pt x="81" y="32"/>
                    <a:pt x="78" y="31"/>
                    <a:pt x="75" y="31"/>
                  </a:cubicBezTo>
                  <a:cubicBezTo>
                    <a:pt x="32" y="31"/>
                    <a:pt x="32" y="31"/>
                    <a:pt x="32" y="31"/>
                  </a:cubicBezTo>
                  <a:cubicBezTo>
                    <a:pt x="32" y="73"/>
                    <a:pt x="32" y="73"/>
                    <a:pt x="32" y="73"/>
                  </a:cubicBezTo>
                  <a:cubicBezTo>
                    <a:pt x="75" y="73"/>
                    <a:pt x="75" y="73"/>
                    <a:pt x="75" y="73"/>
                  </a:cubicBezTo>
                  <a:cubicBezTo>
                    <a:pt x="79" y="73"/>
                    <a:pt x="82" y="72"/>
                    <a:pt x="85" y="72"/>
                  </a:cubicBezTo>
                  <a:cubicBezTo>
                    <a:pt x="88" y="71"/>
                    <a:pt x="90" y="69"/>
                    <a:pt x="92" y="67"/>
                  </a:cubicBezTo>
                  <a:cubicBezTo>
                    <a:pt x="94" y="66"/>
                    <a:pt x="95" y="64"/>
                    <a:pt x="96" y="61"/>
                  </a:cubicBezTo>
                  <a:cubicBezTo>
                    <a:pt x="97" y="58"/>
                    <a:pt x="98" y="55"/>
                    <a:pt x="98" y="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1" name="Freeform 35">
              <a:extLst>
                <a:ext uri="{FF2B5EF4-FFF2-40B4-BE49-F238E27FC236}">
                  <a16:creationId xmlns:a16="http://schemas.microsoft.com/office/drawing/2014/main" id="{B3BCF9E1-0026-4389-B268-FEF82FAE2561}"/>
                </a:ext>
              </a:extLst>
            </p:cNvPr>
            <p:cNvSpPr>
              <a:spLocks/>
            </p:cNvSpPr>
            <p:nvPr/>
          </p:nvSpPr>
          <p:spPr bwMode="invGray">
            <a:xfrm>
              <a:off x="11669468" y="970279"/>
              <a:ext cx="79757" cy="111137"/>
            </a:xfrm>
            <a:custGeom>
              <a:avLst/>
              <a:gdLst>
                <a:gd name="T0" fmla="*/ 61 w 61"/>
                <a:gd name="T1" fmla="*/ 85 h 85"/>
                <a:gd name="T2" fmla="*/ 0 w 61"/>
                <a:gd name="T3" fmla="*/ 85 h 85"/>
                <a:gd name="T4" fmla="*/ 0 w 61"/>
                <a:gd name="T5" fmla="*/ 0 h 85"/>
                <a:gd name="T6" fmla="*/ 59 w 61"/>
                <a:gd name="T7" fmla="*/ 0 h 85"/>
                <a:gd name="T8" fmla="*/ 59 w 61"/>
                <a:gd name="T9" fmla="*/ 16 h 85"/>
                <a:gd name="T10" fmla="*/ 18 w 61"/>
                <a:gd name="T11" fmla="*/ 16 h 85"/>
                <a:gd name="T12" fmla="*/ 18 w 61"/>
                <a:gd name="T13" fmla="*/ 31 h 85"/>
                <a:gd name="T14" fmla="*/ 52 w 61"/>
                <a:gd name="T15" fmla="*/ 31 h 85"/>
                <a:gd name="T16" fmla="*/ 52 w 61"/>
                <a:gd name="T17" fmla="*/ 48 h 85"/>
                <a:gd name="T18" fmla="*/ 18 w 61"/>
                <a:gd name="T19" fmla="*/ 48 h 85"/>
                <a:gd name="T20" fmla="*/ 18 w 61"/>
                <a:gd name="T21" fmla="*/ 68 h 85"/>
                <a:gd name="T22" fmla="*/ 61 w 61"/>
                <a:gd name="T23" fmla="*/ 68 h 85"/>
                <a:gd name="T24" fmla="*/ 61 w 61"/>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5">
                  <a:moveTo>
                    <a:pt x="61" y="85"/>
                  </a:moveTo>
                  <a:lnTo>
                    <a:pt x="0" y="85"/>
                  </a:lnTo>
                  <a:lnTo>
                    <a:pt x="0" y="0"/>
                  </a:lnTo>
                  <a:lnTo>
                    <a:pt x="59" y="0"/>
                  </a:lnTo>
                  <a:lnTo>
                    <a:pt x="59" y="16"/>
                  </a:lnTo>
                  <a:lnTo>
                    <a:pt x="18" y="16"/>
                  </a:lnTo>
                  <a:lnTo>
                    <a:pt x="18" y="31"/>
                  </a:lnTo>
                  <a:lnTo>
                    <a:pt x="52" y="31"/>
                  </a:lnTo>
                  <a:lnTo>
                    <a:pt x="52" y="48"/>
                  </a:lnTo>
                  <a:lnTo>
                    <a:pt x="18" y="48"/>
                  </a:lnTo>
                  <a:lnTo>
                    <a:pt x="18" y="68"/>
                  </a:lnTo>
                  <a:lnTo>
                    <a:pt x="61" y="68"/>
                  </a:lnTo>
                  <a:lnTo>
                    <a:pt x="6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2" name="Freeform 36">
              <a:extLst>
                <a:ext uri="{FF2B5EF4-FFF2-40B4-BE49-F238E27FC236}">
                  <a16:creationId xmlns:a16="http://schemas.microsoft.com/office/drawing/2014/main" id="{649F954E-57A5-4CCA-9CAB-F232FEBD5F36}"/>
                </a:ext>
              </a:extLst>
            </p:cNvPr>
            <p:cNvSpPr>
              <a:spLocks/>
            </p:cNvSpPr>
            <p:nvPr/>
          </p:nvSpPr>
          <p:spPr bwMode="invGray">
            <a:xfrm>
              <a:off x="9731769" y="1013426"/>
              <a:ext cx="261498" cy="366097"/>
            </a:xfrm>
            <a:custGeom>
              <a:avLst/>
              <a:gdLst>
                <a:gd name="T0" fmla="*/ 200 w 200"/>
                <a:gd name="T1" fmla="*/ 280 h 280"/>
                <a:gd name="T2" fmla="*/ 0 w 200"/>
                <a:gd name="T3" fmla="*/ 280 h 280"/>
                <a:gd name="T4" fmla="*/ 0 w 200"/>
                <a:gd name="T5" fmla="*/ 0 h 280"/>
                <a:gd name="T6" fmla="*/ 181 w 200"/>
                <a:gd name="T7" fmla="*/ 0 h 280"/>
                <a:gd name="T8" fmla="*/ 181 w 200"/>
                <a:gd name="T9" fmla="*/ 55 h 280"/>
                <a:gd name="T10" fmla="*/ 55 w 200"/>
                <a:gd name="T11" fmla="*/ 55 h 280"/>
                <a:gd name="T12" fmla="*/ 55 w 200"/>
                <a:gd name="T13" fmla="*/ 103 h 280"/>
                <a:gd name="T14" fmla="*/ 168 w 200"/>
                <a:gd name="T15" fmla="*/ 103 h 280"/>
                <a:gd name="T16" fmla="*/ 168 w 200"/>
                <a:gd name="T17" fmla="*/ 157 h 280"/>
                <a:gd name="T18" fmla="*/ 55 w 200"/>
                <a:gd name="T19" fmla="*/ 157 h 280"/>
                <a:gd name="T20" fmla="*/ 55 w 200"/>
                <a:gd name="T21" fmla="*/ 225 h 280"/>
                <a:gd name="T22" fmla="*/ 200 w 200"/>
                <a:gd name="T23" fmla="*/ 225 h 280"/>
                <a:gd name="T24" fmla="*/ 200 w 200"/>
                <a:gd name="T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80">
                  <a:moveTo>
                    <a:pt x="200" y="280"/>
                  </a:moveTo>
                  <a:lnTo>
                    <a:pt x="0" y="280"/>
                  </a:lnTo>
                  <a:lnTo>
                    <a:pt x="0" y="0"/>
                  </a:lnTo>
                  <a:lnTo>
                    <a:pt x="181" y="0"/>
                  </a:lnTo>
                  <a:lnTo>
                    <a:pt x="181" y="55"/>
                  </a:lnTo>
                  <a:lnTo>
                    <a:pt x="55" y="55"/>
                  </a:lnTo>
                  <a:lnTo>
                    <a:pt x="55" y="103"/>
                  </a:lnTo>
                  <a:lnTo>
                    <a:pt x="168" y="103"/>
                  </a:lnTo>
                  <a:lnTo>
                    <a:pt x="168" y="157"/>
                  </a:lnTo>
                  <a:lnTo>
                    <a:pt x="55" y="157"/>
                  </a:lnTo>
                  <a:lnTo>
                    <a:pt x="55" y="225"/>
                  </a:lnTo>
                  <a:lnTo>
                    <a:pt x="200" y="225"/>
                  </a:lnTo>
                  <a:lnTo>
                    <a:pt x="200" y="28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3" name="Freeform 37">
              <a:extLst>
                <a:ext uri="{FF2B5EF4-FFF2-40B4-BE49-F238E27FC236}">
                  <a16:creationId xmlns:a16="http://schemas.microsoft.com/office/drawing/2014/main" id="{6DE56CC7-4BD4-440A-97FD-A8FAEC415494}"/>
                </a:ext>
              </a:extLst>
            </p:cNvPr>
            <p:cNvSpPr>
              <a:spLocks/>
            </p:cNvSpPr>
            <p:nvPr/>
          </p:nvSpPr>
          <p:spPr bwMode="invGray">
            <a:xfrm>
              <a:off x="9981497" y="1013426"/>
              <a:ext cx="334717" cy="366097"/>
            </a:xfrm>
            <a:custGeom>
              <a:avLst/>
              <a:gdLst>
                <a:gd name="T0" fmla="*/ 256 w 256"/>
                <a:gd name="T1" fmla="*/ 0 h 280"/>
                <a:gd name="T2" fmla="*/ 156 w 256"/>
                <a:gd name="T3" fmla="*/ 157 h 280"/>
                <a:gd name="T4" fmla="*/ 156 w 256"/>
                <a:gd name="T5" fmla="*/ 280 h 280"/>
                <a:gd name="T6" fmla="*/ 100 w 256"/>
                <a:gd name="T7" fmla="*/ 280 h 280"/>
                <a:gd name="T8" fmla="*/ 100 w 256"/>
                <a:gd name="T9" fmla="*/ 159 h 280"/>
                <a:gd name="T10" fmla="*/ 0 w 256"/>
                <a:gd name="T11" fmla="*/ 0 h 280"/>
                <a:gd name="T12" fmla="*/ 64 w 256"/>
                <a:gd name="T13" fmla="*/ 0 h 280"/>
                <a:gd name="T14" fmla="*/ 128 w 256"/>
                <a:gd name="T15" fmla="*/ 106 h 280"/>
                <a:gd name="T16" fmla="*/ 192 w 256"/>
                <a:gd name="T17" fmla="*/ 0 h 280"/>
                <a:gd name="T18" fmla="*/ 256 w 256"/>
                <a:gd name="T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80">
                  <a:moveTo>
                    <a:pt x="256" y="0"/>
                  </a:moveTo>
                  <a:lnTo>
                    <a:pt x="156" y="157"/>
                  </a:lnTo>
                  <a:lnTo>
                    <a:pt x="156" y="280"/>
                  </a:lnTo>
                  <a:lnTo>
                    <a:pt x="100" y="280"/>
                  </a:lnTo>
                  <a:lnTo>
                    <a:pt x="100" y="159"/>
                  </a:lnTo>
                  <a:lnTo>
                    <a:pt x="0" y="0"/>
                  </a:lnTo>
                  <a:lnTo>
                    <a:pt x="64" y="0"/>
                  </a:lnTo>
                  <a:lnTo>
                    <a:pt x="128" y="106"/>
                  </a:lnTo>
                  <a:lnTo>
                    <a:pt x="192"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4" name="Freeform 38">
              <a:extLst>
                <a:ext uri="{FF2B5EF4-FFF2-40B4-BE49-F238E27FC236}">
                  <a16:creationId xmlns:a16="http://schemas.microsoft.com/office/drawing/2014/main" id="{658A3BBD-2F70-448C-911B-74A58B3D4525}"/>
                </a:ext>
              </a:extLst>
            </p:cNvPr>
            <p:cNvSpPr>
              <a:spLocks noEditPoints="1"/>
            </p:cNvSpPr>
            <p:nvPr/>
          </p:nvSpPr>
          <p:spPr bwMode="invGray">
            <a:xfrm>
              <a:off x="10199846" y="638177"/>
              <a:ext cx="1435622" cy="1039454"/>
            </a:xfrm>
            <a:custGeom>
              <a:avLst/>
              <a:gdLst>
                <a:gd name="T0" fmla="*/ 0 w 2104"/>
                <a:gd name="T1" fmla="*/ 293 h 1521"/>
                <a:gd name="T2" fmla="*/ 243 w 2104"/>
                <a:gd name="T3" fmla="*/ 139 h 1521"/>
                <a:gd name="T4" fmla="*/ 243 w 2104"/>
                <a:gd name="T5" fmla="*/ 191 h 1521"/>
                <a:gd name="T6" fmla="*/ 176 w 2104"/>
                <a:gd name="T7" fmla="*/ 1056 h 1521"/>
                <a:gd name="T8" fmla="*/ 279 w 2104"/>
                <a:gd name="T9" fmla="*/ 25 h 1521"/>
                <a:gd name="T10" fmla="*/ 1557 w 2104"/>
                <a:gd name="T11" fmla="*/ 1144 h 1521"/>
                <a:gd name="T12" fmla="*/ 1557 w 2104"/>
                <a:gd name="T13" fmla="*/ 1108 h 1521"/>
                <a:gd name="T14" fmla="*/ 1557 w 2104"/>
                <a:gd name="T15" fmla="*/ 1072 h 1521"/>
                <a:gd name="T16" fmla="*/ 1557 w 2104"/>
                <a:gd name="T17" fmla="*/ 1035 h 1521"/>
                <a:gd name="T18" fmla="*/ 1557 w 2104"/>
                <a:gd name="T19" fmla="*/ 1000 h 1521"/>
                <a:gd name="T20" fmla="*/ 1186 w 2104"/>
                <a:gd name="T21" fmla="*/ 465 h 1521"/>
                <a:gd name="T22" fmla="*/ 1915 w 2104"/>
                <a:gd name="T23" fmla="*/ 372 h 1521"/>
                <a:gd name="T24" fmla="*/ 1099 w 2104"/>
                <a:gd name="T25" fmla="*/ 499 h 1521"/>
                <a:gd name="T26" fmla="*/ 1977 w 2104"/>
                <a:gd name="T27" fmla="*/ 426 h 1521"/>
                <a:gd name="T28" fmla="*/ 1089 w 2104"/>
                <a:gd name="T29" fmla="*/ 421 h 1521"/>
                <a:gd name="T30" fmla="*/ 1565 w 2104"/>
                <a:gd name="T31" fmla="*/ 60 h 1521"/>
                <a:gd name="T32" fmla="*/ 1565 w 2104"/>
                <a:gd name="T33" fmla="*/ 24 h 1521"/>
                <a:gd name="T34" fmla="*/ 556 w 2104"/>
                <a:gd name="T35" fmla="*/ 485 h 1521"/>
                <a:gd name="T36" fmla="*/ 468 w 2104"/>
                <a:gd name="T37" fmla="*/ 41 h 1521"/>
                <a:gd name="T38" fmla="*/ 388 w 2104"/>
                <a:gd name="T39" fmla="*/ 106 h 1521"/>
                <a:gd name="T40" fmla="*/ 351 w 2104"/>
                <a:gd name="T41" fmla="*/ 760 h 1521"/>
                <a:gd name="T42" fmla="*/ 316 w 2104"/>
                <a:gd name="T43" fmla="*/ 70 h 1521"/>
                <a:gd name="T44" fmla="*/ 434 w 2104"/>
                <a:gd name="T45" fmla="*/ 1086 h 1521"/>
                <a:gd name="T46" fmla="*/ 885 w 2104"/>
                <a:gd name="T47" fmla="*/ 487 h 1521"/>
                <a:gd name="T48" fmla="*/ 885 w 2104"/>
                <a:gd name="T49" fmla="*/ 523 h 1521"/>
                <a:gd name="T50" fmla="*/ 568 w 2104"/>
                <a:gd name="T51" fmla="*/ 1056 h 1521"/>
                <a:gd name="T52" fmla="*/ 885 w 2104"/>
                <a:gd name="T53" fmla="*/ 559 h 1521"/>
                <a:gd name="T54" fmla="*/ 1089 w 2104"/>
                <a:gd name="T55" fmla="*/ 534 h 1521"/>
                <a:gd name="T56" fmla="*/ 1299 w 2104"/>
                <a:gd name="T57" fmla="*/ 996 h 1521"/>
                <a:gd name="T58" fmla="*/ 672 w 2104"/>
                <a:gd name="T59" fmla="*/ 1250 h 1521"/>
                <a:gd name="T60" fmla="*/ 894 w 2104"/>
                <a:gd name="T61" fmla="*/ 1377 h 1521"/>
                <a:gd name="T62" fmla="*/ 895 w 2104"/>
                <a:gd name="T63" fmla="*/ 1413 h 1521"/>
                <a:gd name="T64" fmla="*/ 619 w 2104"/>
                <a:gd name="T65" fmla="*/ 1361 h 1521"/>
                <a:gd name="T66" fmla="*/ 1382 w 2104"/>
                <a:gd name="T67" fmla="*/ 1152 h 1521"/>
                <a:gd name="T68" fmla="*/ 509 w 2104"/>
                <a:gd name="T69" fmla="*/ 1325 h 1521"/>
                <a:gd name="T70" fmla="*/ 1416 w 2104"/>
                <a:gd name="T71" fmla="*/ 1162 h 1521"/>
                <a:gd name="T72" fmla="*/ 2062 w 2104"/>
                <a:gd name="T73" fmla="*/ 711 h 1521"/>
                <a:gd name="T74" fmla="*/ 386 w 2104"/>
                <a:gd name="T75" fmla="*/ 950 h 1521"/>
                <a:gd name="T76" fmla="*/ 351 w 2104"/>
                <a:gd name="T77" fmla="*/ 968 h 1521"/>
                <a:gd name="T78" fmla="*/ 885 w 2104"/>
                <a:gd name="T79" fmla="*/ 415 h 1521"/>
                <a:gd name="T80" fmla="*/ 1162 w 2104"/>
                <a:gd name="T81" fmla="*/ 535 h 1521"/>
                <a:gd name="T82" fmla="*/ 1420 w 2104"/>
                <a:gd name="T83" fmla="*/ 978 h 1521"/>
                <a:gd name="T84" fmla="*/ 1162 w 2104"/>
                <a:gd name="T85" fmla="*/ 535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4" h="1521">
                  <a:moveTo>
                    <a:pt x="268" y="12"/>
                  </a:moveTo>
                  <a:cubicBezTo>
                    <a:pt x="259" y="12"/>
                    <a:pt x="252" y="20"/>
                    <a:pt x="246" y="26"/>
                  </a:cubicBezTo>
                  <a:cubicBezTo>
                    <a:pt x="0" y="293"/>
                    <a:pt x="0" y="293"/>
                    <a:pt x="0" y="293"/>
                  </a:cubicBezTo>
                  <a:cubicBezTo>
                    <a:pt x="4" y="303"/>
                    <a:pt x="25" y="320"/>
                    <a:pt x="51" y="291"/>
                  </a:cubicBezTo>
                  <a:cubicBezTo>
                    <a:pt x="66" y="276"/>
                    <a:pt x="243" y="80"/>
                    <a:pt x="243" y="80"/>
                  </a:cubicBezTo>
                  <a:cubicBezTo>
                    <a:pt x="243" y="139"/>
                    <a:pt x="243" y="139"/>
                    <a:pt x="243" y="139"/>
                  </a:cubicBezTo>
                  <a:cubicBezTo>
                    <a:pt x="227" y="157"/>
                    <a:pt x="76" y="322"/>
                    <a:pt x="60" y="338"/>
                  </a:cubicBezTo>
                  <a:cubicBezTo>
                    <a:pt x="38" y="360"/>
                    <a:pt x="46" y="383"/>
                    <a:pt x="59" y="392"/>
                  </a:cubicBezTo>
                  <a:cubicBezTo>
                    <a:pt x="243" y="191"/>
                    <a:pt x="243" y="191"/>
                    <a:pt x="243" y="191"/>
                  </a:cubicBezTo>
                  <a:cubicBezTo>
                    <a:pt x="243" y="983"/>
                    <a:pt x="243" y="983"/>
                    <a:pt x="243" y="983"/>
                  </a:cubicBezTo>
                  <a:cubicBezTo>
                    <a:pt x="243" y="1029"/>
                    <a:pt x="228" y="1059"/>
                    <a:pt x="200" y="1059"/>
                  </a:cubicBezTo>
                  <a:cubicBezTo>
                    <a:pt x="187" y="1059"/>
                    <a:pt x="181" y="1057"/>
                    <a:pt x="176" y="1056"/>
                  </a:cubicBezTo>
                  <a:cubicBezTo>
                    <a:pt x="170" y="1070"/>
                    <a:pt x="180" y="1090"/>
                    <a:pt x="208" y="1090"/>
                  </a:cubicBezTo>
                  <a:cubicBezTo>
                    <a:pt x="268" y="1090"/>
                    <a:pt x="279" y="1027"/>
                    <a:pt x="279" y="983"/>
                  </a:cubicBezTo>
                  <a:cubicBezTo>
                    <a:pt x="279" y="25"/>
                    <a:pt x="279" y="25"/>
                    <a:pt x="279" y="25"/>
                  </a:cubicBezTo>
                  <a:cubicBezTo>
                    <a:pt x="279" y="18"/>
                    <a:pt x="275" y="12"/>
                    <a:pt x="268" y="12"/>
                  </a:cubicBezTo>
                  <a:close/>
                  <a:moveTo>
                    <a:pt x="2062" y="711"/>
                  </a:moveTo>
                  <a:cubicBezTo>
                    <a:pt x="2072" y="820"/>
                    <a:pt x="1941" y="1144"/>
                    <a:pt x="1557" y="1144"/>
                  </a:cubicBezTo>
                  <a:cubicBezTo>
                    <a:pt x="1472" y="1144"/>
                    <a:pt x="1403" y="1124"/>
                    <a:pt x="1361" y="1105"/>
                  </a:cubicBezTo>
                  <a:cubicBezTo>
                    <a:pt x="1364" y="1094"/>
                    <a:pt x="1367" y="1083"/>
                    <a:pt x="1370" y="1072"/>
                  </a:cubicBezTo>
                  <a:cubicBezTo>
                    <a:pt x="1423" y="1094"/>
                    <a:pt x="1482" y="1108"/>
                    <a:pt x="1557" y="1108"/>
                  </a:cubicBezTo>
                  <a:cubicBezTo>
                    <a:pt x="1871" y="1108"/>
                    <a:pt x="1988" y="879"/>
                    <a:pt x="2010" y="795"/>
                  </a:cubicBezTo>
                  <a:cubicBezTo>
                    <a:pt x="2025" y="742"/>
                    <a:pt x="2018" y="711"/>
                    <a:pt x="1981" y="711"/>
                  </a:cubicBezTo>
                  <a:cubicBezTo>
                    <a:pt x="1994" y="785"/>
                    <a:pt x="1899" y="1072"/>
                    <a:pt x="1557" y="1072"/>
                  </a:cubicBezTo>
                  <a:cubicBezTo>
                    <a:pt x="1490" y="1072"/>
                    <a:pt x="1431" y="1059"/>
                    <a:pt x="1377" y="1037"/>
                  </a:cubicBezTo>
                  <a:cubicBezTo>
                    <a:pt x="1379" y="1026"/>
                    <a:pt x="1380" y="1014"/>
                    <a:pt x="1382" y="1003"/>
                  </a:cubicBezTo>
                  <a:cubicBezTo>
                    <a:pt x="1420" y="1018"/>
                    <a:pt x="1479" y="1035"/>
                    <a:pt x="1557" y="1035"/>
                  </a:cubicBezTo>
                  <a:cubicBezTo>
                    <a:pt x="1794" y="1035"/>
                    <a:pt x="1908" y="877"/>
                    <a:pt x="1932" y="781"/>
                  </a:cubicBezTo>
                  <a:cubicBezTo>
                    <a:pt x="1943" y="739"/>
                    <a:pt x="1936" y="711"/>
                    <a:pt x="1902" y="711"/>
                  </a:cubicBezTo>
                  <a:cubicBezTo>
                    <a:pt x="1910" y="784"/>
                    <a:pt x="1826" y="1000"/>
                    <a:pt x="1557" y="1000"/>
                  </a:cubicBezTo>
                  <a:cubicBezTo>
                    <a:pt x="1519" y="1000"/>
                    <a:pt x="1484" y="995"/>
                    <a:pt x="1455" y="988"/>
                  </a:cubicBezTo>
                  <a:cubicBezTo>
                    <a:pt x="1456" y="975"/>
                    <a:pt x="1456" y="960"/>
                    <a:pt x="1456" y="950"/>
                  </a:cubicBezTo>
                  <a:cubicBezTo>
                    <a:pt x="1456" y="749"/>
                    <a:pt x="1351" y="567"/>
                    <a:pt x="1186" y="465"/>
                  </a:cubicBezTo>
                  <a:cubicBezTo>
                    <a:pt x="1249" y="318"/>
                    <a:pt x="1390" y="204"/>
                    <a:pt x="1565" y="204"/>
                  </a:cubicBezTo>
                  <a:cubicBezTo>
                    <a:pt x="1787" y="204"/>
                    <a:pt x="1886" y="374"/>
                    <a:pt x="1896" y="426"/>
                  </a:cubicBezTo>
                  <a:cubicBezTo>
                    <a:pt x="1919" y="426"/>
                    <a:pt x="1925" y="395"/>
                    <a:pt x="1915" y="372"/>
                  </a:cubicBezTo>
                  <a:cubicBezTo>
                    <a:pt x="1892" y="314"/>
                    <a:pt x="1782" y="169"/>
                    <a:pt x="1565" y="169"/>
                  </a:cubicBezTo>
                  <a:cubicBezTo>
                    <a:pt x="1348" y="169"/>
                    <a:pt x="1187" y="321"/>
                    <a:pt x="1131" y="516"/>
                  </a:cubicBezTo>
                  <a:cubicBezTo>
                    <a:pt x="1121" y="510"/>
                    <a:pt x="1110" y="504"/>
                    <a:pt x="1099" y="499"/>
                  </a:cubicBezTo>
                  <a:cubicBezTo>
                    <a:pt x="1107" y="476"/>
                    <a:pt x="1114" y="453"/>
                    <a:pt x="1122" y="434"/>
                  </a:cubicBezTo>
                  <a:cubicBezTo>
                    <a:pt x="1192" y="257"/>
                    <a:pt x="1361" y="132"/>
                    <a:pt x="1565" y="132"/>
                  </a:cubicBezTo>
                  <a:cubicBezTo>
                    <a:pt x="1836" y="132"/>
                    <a:pt x="1966" y="343"/>
                    <a:pt x="1977" y="426"/>
                  </a:cubicBezTo>
                  <a:cubicBezTo>
                    <a:pt x="1997" y="426"/>
                    <a:pt x="2012" y="403"/>
                    <a:pt x="2003" y="378"/>
                  </a:cubicBezTo>
                  <a:cubicBezTo>
                    <a:pt x="1975" y="301"/>
                    <a:pt x="1856" y="96"/>
                    <a:pt x="1565" y="96"/>
                  </a:cubicBezTo>
                  <a:cubicBezTo>
                    <a:pt x="1346" y="96"/>
                    <a:pt x="1164" y="231"/>
                    <a:pt x="1089" y="421"/>
                  </a:cubicBezTo>
                  <a:cubicBezTo>
                    <a:pt x="1082" y="437"/>
                    <a:pt x="1074" y="460"/>
                    <a:pt x="1066" y="485"/>
                  </a:cubicBezTo>
                  <a:cubicBezTo>
                    <a:pt x="1056" y="481"/>
                    <a:pt x="1046" y="477"/>
                    <a:pt x="1036" y="474"/>
                  </a:cubicBezTo>
                  <a:cubicBezTo>
                    <a:pt x="1086" y="263"/>
                    <a:pt x="1283" y="60"/>
                    <a:pt x="1565" y="60"/>
                  </a:cubicBezTo>
                  <a:cubicBezTo>
                    <a:pt x="1936" y="60"/>
                    <a:pt x="2057" y="372"/>
                    <a:pt x="2058" y="426"/>
                  </a:cubicBezTo>
                  <a:cubicBezTo>
                    <a:pt x="2084" y="426"/>
                    <a:pt x="2093" y="398"/>
                    <a:pt x="2085" y="372"/>
                  </a:cubicBezTo>
                  <a:cubicBezTo>
                    <a:pt x="2058" y="289"/>
                    <a:pt x="1922" y="24"/>
                    <a:pt x="1565" y="24"/>
                  </a:cubicBezTo>
                  <a:cubicBezTo>
                    <a:pt x="1298" y="24"/>
                    <a:pt x="1105" y="187"/>
                    <a:pt x="1024" y="396"/>
                  </a:cubicBezTo>
                  <a:cubicBezTo>
                    <a:pt x="979" y="385"/>
                    <a:pt x="932" y="379"/>
                    <a:pt x="885" y="379"/>
                  </a:cubicBezTo>
                  <a:cubicBezTo>
                    <a:pt x="766" y="379"/>
                    <a:pt x="653" y="416"/>
                    <a:pt x="556" y="485"/>
                  </a:cubicBezTo>
                  <a:cubicBezTo>
                    <a:pt x="505" y="522"/>
                    <a:pt x="460" y="566"/>
                    <a:pt x="424" y="616"/>
                  </a:cubicBezTo>
                  <a:cubicBezTo>
                    <a:pt x="424" y="106"/>
                    <a:pt x="424" y="106"/>
                    <a:pt x="424" y="106"/>
                  </a:cubicBezTo>
                  <a:cubicBezTo>
                    <a:pt x="424" y="60"/>
                    <a:pt x="439" y="41"/>
                    <a:pt x="468" y="41"/>
                  </a:cubicBezTo>
                  <a:cubicBezTo>
                    <a:pt x="480" y="41"/>
                    <a:pt x="486" y="43"/>
                    <a:pt x="491" y="44"/>
                  </a:cubicBezTo>
                  <a:cubicBezTo>
                    <a:pt x="497" y="30"/>
                    <a:pt x="487" y="10"/>
                    <a:pt x="459" y="10"/>
                  </a:cubicBezTo>
                  <a:cubicBezTo>
                    <a:pt x="399" y="10"/>
                    <a:pt x="388" y="62"/>
                    <a:pt x="388" y="106"/>
                  </a:cubicBezTo>
                  <a:cubicBezTo>
                    <a:pt x="388" y="106"/>
                    <a:pt x="388" y="518"/>
                    <a:pt x="388" y="672"/>
                  </a:cubicBezTo>
                  <a:cubicBezTo>
                    <a:pt x="388" y="673"/>
                    <a:pt x="387" y="674"/>
                    <a:pt x="387" y="675"/>
                  </a:cubicBezTo>
                  <a:cubicBezTo>
                    <a:pt x="377" y="692"/>
                    <a:pt x="362" y="729"/>
                    <a:pt x="351" y="760"/>
                  </a:cubicBezTo>
                  <a:cubicBezTo>
                    <a:pt x="351" y="84"/>
                    <a:pt x="351" y="84"/>
                    <a:pt x="351" y="84"/>
                  </a:cubicBezTo>
                  <a:cubicBezTo>
                    <a:pt x="351" y="41"/>
                    <a:pt x="361" y="26"/>
                    <a:pt x="369" y="19"/>
                  </a:cubicBezTo>
                  <a:cubicBezTo>
                    <a:pt x="365" y="5"/>
                    <a:pt x="316" y="0"/>
                    <a:pt x="316" y="70"/>
                  </a:cubicBezTo>
                  <a:cubicBezTo>
                    <a:pt x="316" y="103"/>
                    <a:pt x="316" y="984"/>
                    <a:pt x="316" y="984"/>
                  </a:cubicBezTo>
                  <a:cubicBezTo>
                    <a:pt x="316" y="1060"/>
                    <a:pt x="351" y="1091"/>
                    <a:pt x="389" y="1091"/>
                  </a:cubicBezTo>
                  <a:cubicBezTo>
                    <a:pt x="405" y="1091"/>
                    <a:pt x="422" y="1088"/>
                    <a:pt x="434" y="1086"/>
                  </a:cubicBezTo>
                  <a:cubicBezTo>
                    <a:pt x="440" y="1084"/>
                    <a:pt x="444" y="1077"/>
                    <a:pt x="442" y="1071"/>
                  </a:cubicBezTo>
                  <a:cubicBezTo>
                    <a:pt x="430" y="1040"/>
                    <a:pt x="422" y="998"/>
                    <a:pt x="422" y="950"/>
                  </a:cubicBezTo>
                  <a:cubicBezTo>
                    <a:pt x="422" y="694"/>
                    <a:pt x="630" y="487"/>
                    <a:pt x="885" y="487"/>
                  </a:cubicBezTo>
                  <a:cubicBezTo>
                    <a:pt x="946" y="487"/>
                    <a:pt x="1003" y="498"/>
                    <a:pt x="1057" y="519"/>
                  </a:cubicBezTo>
                  <a:cubicBezTo>
                    <a:pt x="1053" y="530"/>
                    <a:pt x="1051" y="542"/>
                    <a:pt x="1048" y="553"/>
                  </a:cubicBezTo>
                  <a:cubicBezTo>
                    <a:pt x="1008" y="537"/>
                    <a:pt x="955" y="523"/>
                    <a:pt x="885" y="523"/>
                  </a:cubicBezTo>
                  <a:cubicBezTo>
                    <a:pt x="650" y="523"/>
                    <a:pt x="458" y="715"/>
                    <a:pt x="458" y="950"/>
                  </a:cubicBezTo>
                  <a:cubicBezTo>
                    <a:pt x="458" y="1011"/>
                    <a:pt x="475" y="1090"/>
                    <a:pt x="535" y="1090"/>
                  </a:cubicBezTo>
                  <a:cubicBezTo>
                    <a:pt x="564" y="1090"/>
                    <a:pt x="574" y="1070"/>
                    <a:pt x="568" y="1056"/>
                  </a:cubicBezTo>
                  <a:cubicBezTo>
                    <a:pt x="562" y="1057"/>
                    <a:pt x="556" y="1059"/>
                    <a:pt x="544" y="1059"/>
                  </a:cubicBezTo>
                  <a:cubicBezTo>
                    <a:pt x="516" y="1059"/>
                    <a:pt x="494" y="1021"/>
                    <a:pt x="494" y="950"/>
                  </a:cubicBezTo>
                  <a:cubicBezTo>
                    <a:pt x="494" y="734"/>
                    <a:pt x="669" y="559"/>
                    <a:pt x="885" y="559"/>
                  </a:cubicBezTo>
                  <a:cubicBezTo>
                    <a:pt x="959" y="559"/>
                    <a:pt x="1016" y="577"/>
                    <a:pt x="1056" y="597"/>
                  </a:cubicBezTo>
                  <a:cubicBezTo>
                    <a:pt x="1065" y="601"/>
                    <a:pt x="1075" y="595"/>
                    <a:pt x="1077" y="585"/>
                  </a:cubicBezTo>
                  <a:cubicBezTo>
                    <a:pt x="1079" y="571"/>
                    <a:pt x="1084" y="553"/>
                    <a:pt x="1089" y="534"/>
                  </a:cubicBezTo>
                  <a:cubicBezTo>
                    <a:pt x="1243" y="609"/>
                    <a:pt x="1349" y="768"/>
                    <a:pt x="1349" y="950"/>
                  </a:cubicBezTo>
                  <a:cubicBezTo>
                    <a:pt x="1349" y="974"/>
                    <a:pt x="1347" y="998"/>
                    <a:pt x="1343" y="1021"/>
                  </a:cubicBezTo>
                  <a:cubicBezTo>
                    <a:pt x="1328" y="1014"/>
                    <a:pt x="1314" y="1005"/>
                    <a:pt x="1299" y="996"/>
                  </a:cubicBezTo>
                  <a:cubicBezTo>
                    <a:pt x="1283" y="987"/>
                    <a:pt x="1274" y="994"/>
                    <a:pt x="1272" y="1009"/>
                  </a:cubicBezTo>
                  <a:cubicBezTo>
                    <a:pt x="1244" y="1200"/>
                    <a:pt x="1086" y="1341"/>
                    <a:pt x="894" y="1341"/>
                  </a:cubicBezTo>
                  <a:cubicBezTo>
                    <a:pt x="763" y="1341"/>
                    <a:pt x="691" y="1290"/>
                    <a:pt x="672" y="1250"/>
                  </a:cubicBezTo>
                  <a:cubicBezTo>
                    <a:pt x="662" y="1253"/>
                    <a:pt x="654" y="1262"/>
                    <a:pt x="654" y="1276"/>
                  </a:cubicBezTo>
                  <a:cubicBezTo>
                    <a:pt x="654" y="1300"/>
                    <a:pt x="694" y="1327"/>
                    <a:pt x="721" y="1340"/>
                  </a:cubicBezTo>
                  <a:cubicBezTo>
                    <a:pt x="761" y="1360"/>
                    <a:pt x="815" y="1377"/>
                    <a:pt x="894" y="1377"/>
                  </a:cubicBezTo>
                  <a:cubicBezTo>
                    <a:pt x="1095" y="1377"/>
                    <a:pt x="1261" y="1235"/>
                    <a:pt x="1303" y="1040"/>
                  </a:cubicBezTo>
                  <a:cubicBezTo>
                    <a:pt x="1314" y="1046"/>
                    <a:pt x="1325" y="1052"/>
                    <a:pt x="1337" y="1058"/>
                  </a:cubicBezTo>
                  <a:cubicBezTo>
                    <a:pt x="1290" y="1261"/>
                    <a:pt x="1113" y="1413"/>
                    <a:pt x="895" y="1413"/>
                  </a:cubicBezTo>
                  <a:cubicBezTo>
                    <a:pt x="713" y="1413"/>
                    <a:pt x="621" y="1325"/>
                    <a:pt x="616" y="1296"/>
                  </a:cubicBezTo>
                  <a:cubicBezTo>
                    <a:pt x="602" y="1296"/>
                    <a:pt x="594" y="1307"/>
                    <a:pt x="594" y="1320"/>
                  </a:cubicBezTo>
                  <a:cubicBezTo>
                    <a:pt x="594" y="1335"/>
                    <a:pt x="606" y="1350"/>
                    <a:pt x="619" y="1361"/>
                  </a:cubicBezTo>
                  <a:cubicBezTo>
                    <a:pt x="653" y="1392"/>
                    <a:pt x="738" y="1449"/>
                    <a:pt x="895" y="1449"/>
                  </a:cubicBezTo>
                  <a:cubicBezTo>
                    <a:pt x="1103" y="1449"/>
                    <a:pt x="1277" y="1320"/>
                    <a:pt x="1349" y="1138"/>
                  </a:cubicBezTo>
                  <a:cubicBezTo>
                    <a:pt x="1359" y="1143"/>
                    <a:pt x="1371" y="1147"/>
                    <a:pt x="1382" y="1152"/>
                  </a:cubicBezTo>
                  <a:cubicBezTo>
                    <a:pt x="1304" y="1348"/>
                    <a:pt x="1116" y="1485"/>
                    <a:pt x="894" y="1485"/>
                  </a:cubicBezTo>
                  <a:cubicBezTo>
                    <a:pt x="688" y="1485"/>
                    <a:pt x="549" y="1379"/>
                    <a:pt x="534" y="1297"/>
                  </a:cubicBezTo>
                  <a:cubicBezTo>
                    <a:pt x="522" y="1297"/>
                    <a:pt x="509" y="1308"/>
                    <a:pt x="509" y="1325"/>
                  </a:cubicBezTo>
                  <a:cubicBezTo>
                    <a:pt x="509" y="1338"/>
                    <a:pt x="520" y="1357"/>
                    <a:pt x="523" y="1362"/>
                  </a:cubicBezTo>
                  <a:cubicBezTo>
                    <a:pt x="554" y="1410"/>
                    <a:pt x="665" y="1521"/>
                    <a:pt x="894" y="1521"/>
                  </a:cubicBezTo>
                  <a:cubicBezTo>
                    <a:pt x="1132" y="1521"/>
                    <a:pt x="1334" y="1373"/>
                    <a:pt x="1416" y="1162"/>
                  </a:cubicBezTo>
                  <a:cubicBezTo>
                    <a:pt x="1455" y="1173"/>
                    <a:pt x="1501" y="1179"/>
                    <a:pt x="1557" y="1179"/>
                  </a:cubicBezTo>
                  <a:cubicBezTo>
                    <a:pt x="1928" y="1179"/>
                    <a:pt x="2065" y="901"/>
                    <a:pt x="2089" y="800"/>
                  </a:cubicBezTo>
                  <a:cubicBezTo>
                    <a:pt x="2104" y="734"/>
                    <a:pt x="2096" y="711"/>
                    <a:pt x="2062" y="711"/>
                  </a:cubicBezTo>
                  <a:close/>
                  <a:moveTo>
                    <a:pt x="1002" y="465"/>
                  </a:moveTo>
                  <a:cubicBezTo>
                    <a:pt x="964" y="456"/>
                    <a:pt x="925" y="451"/>
                    <a:pt x="885" y="451"/>
                  </a:cubicBezTo>
                  <a:cubicBezTo>
                    <a:pt x="610" y="451"/>
                    <a:pt x="386" y="675"/>
                    <a:pt x="386" y="950"/>
                  </a:cubicBezTo>
                  <a:cubicBezTo>
                    <a:pt x="386" y="982"/>
                    <a:pt x="388" y="1021"/>
                    <a:pt x="400" y="1055"/>
                  </a:cubicBezTo>
                  <a:cubicBezTo>
                    <a:pt x="364" y="1065"/>
                    <a:pt x="351" y="1028"/>
                    <a:pt x="351" y="984"/>
                  </a:cubicBezTo>
                  <a:cubicBezTo>
                    <a:pt x="351" y="984"/>
                    <a:pt x="351" y="979"/>
                    <a:pt x="351" y="968"/>
                  </a:cubicBezTo>
                  <a:cubicBezTo>
                    <a:pt x="354" y="837"/>
                    <a:pt x="385" y="763"/>
                    <a:pt x="385" y="763"/>
                  </a:cubicBezTo>
                  <a:cubicBezTo>
                    <a:pt x="422" y="661"/>
                    <a:pt x="490" y="577"/>
                    <a:pt x="577" y="514"/>
                  </a:cubicBezTo>
                  <a:cubicBezTo>
                    <a:pt x="667" y="449"/>
                    <a:pt x="774" y="415"/>
                    <a:pt x="885" y="415"/>
                  </a:cubicBezTo>
                  <a:cubicBezTo>
                    <a:pt x="928" y="415"/>
                    <a:pt x="971" y="420"/>
                    <a:pt x="1012" y="430"/>
                  </a:cubicBezTo>
                  <a:cubicBezTo>
                    <a:pt x="1008" y="441"/>
                    <a:pt x="1005" y="453"/>
                    <a:pt x="1002" y="465"/>
                  </a:cubicBezTo>
                  <a:close/>
                  <a:moveTo>
                    <a:pt x="1162" y="535"/>
                  </a:moveTo>
                  <a:cubicBezTo>
                    <a:pt x="1166" y="523"/>
                    <a:pt x="1169" y="511"/>
                    <a:pt x="1173" y="499"/>
                  </a:cubicBezTo>
                  <a:cubicBezTo>
                    <a:pt x="1324" y="595"/>
                    <a:pt x="1421" y="764"/>
                    <a:pt x="1421" y="950"/>
                  </a:cubicBezTo>
                  <a:cubicBezTo>
                    <a:pt x="1421" y="959"/>
                    <a:pt x="1420" y="968"/>
                    <a:pt x="1420" y="978"/>
                  </a:cubicBezTo>
                  <a:cubicBezTo>
                    <a:pt x="1406" y="973"/>
                    <a:pt x="1394" y="969"/>
                    <a:pt x="1384" y="964"/>
                  </a:cubicBezTo>
                  <a:cubicBezTo>
                    <a:pt x="1384" y="960"/>
                    <a:pt x="1384" y="955"/>
                    <a:pt x="1384" y="950"/>
                  </a:cubicBezTo>
                  <a:cubicBezTo>
                    <a:pt x="1384" y="777"/>
                    <a:pt x="1296" y="625"/>
                    <a:pt x="1162" y="5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15:guide id="1" pos="674" userDrawn="1">
          <p15:clr>
            <a:srgbClr val="FBAE40"/>
          </p15:clr>
        </p15:guide>
        <p15:guide id="2" orient="horz" pos="1350" userDrawn="1">
          <p15:clr>
            <a:srgbClr val="FBAE40"/>
          </p15:clr>
        </p15:guide>
        <p15:guide id="3" orient="horz" pos="201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7_Cover_with_author_Neu">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12"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4865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615384" y="5605200"/>
            <a:ext cx="1045073" cy="197581"/>
          </a:xfrm>
          <a:prstGeom prst="rect">
            <a:avLst/>
          </a:prstGeom>
          <a:noFill/>
        </p:spPr>
        <p:txBody>
          <a:bodyPr wrap="square" lIns="0" tIns="0" rIns="0" bIns="0" rtlCol="0" anchor="ctr" anchorCtr="0">
            <a:noAutofit/>
          </a:bodyPr>
          <a:lstStyle/>
          <a:p>
            <a:r>
              <a:rPr lang="en-US" sz="1200" noProof="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486584" y="6019189"/>
            <a:ext cx="3089275" cy="180000"/>
          </a:xfrm>
          <a:prstGeom prst="rect">
            <a:avLst/>
          </a:prstGeom>
        </p:spPr>
        <p:txBody>
          <a:bodyPr/>
          <a:lstStyle>
            <a:lvl1pPr marL="0" indent="0">
              <a:buNone/>
              <a:defRPr sz="1200">
                <a:solidFill>
                  <a:schemeClr val="tx2"/>
                </a:solidFill>
              </a:defRPr>
            </a:lvl1pPr>
          </a:lstStyle>
          <a:p>
            <a:pPr lvl="0"/>
            <a:r>
              <a:rPr lang="en-US" noProof="0" dirty="0"/>
              <a:t>Name Surname</a:t>
            </a:r>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486584" y="6216807"/>
            <a:ext cx="3089275" cy="180000"/>
          </a:xfrm>
          <a:prstGeom prst="rect">
            <a:avLst/>
          </a:prstGeom>
        </p:spPr>
        <p:txBody>
          <a:bodyPr/>
          <a:lstStyle>
            <a:lvl1pPr marL="0" indent="0">
              <a:buNone/>
              <a:defRPr sz="1200">
                <a:solidFill>
                  <a:schemeClr val="bg1"/>
                </a:solidFill>
              </a:defRPr>
            </a:lvl1pPr>
          </a:lstStyle>
          <a:p>
            <a:pPr lvl="0"/>
            <a:r>
              <a:rPr lang="en-US" noProof="0" dirty="0"/>
              <a:t>Job Title</a:t>
            </a:r>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hasCustomPrompt="1"/>
          </p:nvPr>
        </p:nvSpPr>
        <p:spPr>
          <a:xfrm>
            <a:off x="615383" y="5914642"/>
            <a:ext cx="576000" cy="576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invGray">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15" name="Gruppieren 14"/>
          <p:cNvGrpSpPr/>
          <p:nvPr userDrawn="1"/>
        </p:nvGrpSpPr>
        <p:grpSpPr bwMode="invGray">
          <a:xfrm>
            <a:off x="9713775" y="440057"/>
            <a:ext cx="1868402" cy="962657"/>
            <a:chOff x="9731769" y="638177"/>
            <a:chExt cx="2017456" cy="1039454"/>
          </a:xfrm>
        </p:grpSpPr>
        <p:sp>
          <p:nvSpPr>
            <p:cNvPr id="17" name="Freeform 5">
              <a:extLst>
                <a:ext uri="{FF2B5EF4-FFF2-40B4-BE49-F238E27FC236}">
                  <a16:creationId xmlns:a16="http://schemas.microsoft.com/office/drawing/2014/main" id="{8A9BDB58-231B-4B70-8059-20CAA94E9F64}"/>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8" name="Freeform 6">
              <a:extLst>
                <a:ext uri="{FF2B5EF4-FFF2-40B4-BE49-F238E27FC236}">
                  <a16:creationId xmlns:a16="http://schemas.microsoft.com/office/drawing/2014/main" id="{97DAE07B-DE87-4358-BA44-6531EF3573CD}"/>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7">
              <a:extLst>
                <a:ext uri="{FF2B5EF4-FFF2-40B4-BE49-F238E27FC236}">
                  <a16:creationId xmlns:a16="http://schemas.microsoft.com/office/drawing/2014/main" id="{39829C97-B9FD-4508-8651-C460629865A1}"/>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8">
              <a:extLst>
                <a:ext uri="{FF2B5EF4-FFF2-40B4-BE49-F238E27FC236}">
                  <a16:creationId xmlns:a16="http://schemas.microsoft.com/office/drawing/2014/main" id="{E6E8D961-2633-4DD4-9603-DC987B33CBF8}"/>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9">
              <a:extLst>
                <a:ext uri="{FF2B5EF4-FFF2-40B4-BE49-F238E27FC236}">
                  <a16:creationId xmlns:a16="http://schemas.microsoft.com/office/drawing/2014/main" id="{F4A1F26E-26EA-44D8-8D11-97229CEC2530}"/>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2" name="Freeform 10">
              <a:extLst>
                <a:ext uri="{FF2B5EF4-FFF2-40B4-BE49-F238E27FC236}">
                  <a16:creationId xmlns:a16="http://schemas.microsoft.com/office/drawing/2014/main" id="{45C1803D-4651-4E80-B712-F3F311657C4D}"/>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11">
              <a:extLst>
                <a:ext uri="{FF2B5EF4-FFF2-40B4-BE49-F238E27FC236}">
                  <a16:creationId xmlns:a16="http://schemas.microsoft.com/office/drawing/2014/main" id="{711CC3A8-EDFC-4EAE-A2DC-ACDC3B1D9DEB}"/>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4" name="Freeform 12">
              <a:extLst>
                <a:ext uri="{FF2B5EF4-FFF2-40B4-BE49-F238E27FC236}">
                  <a16:creationId xmlns:a16="http://schemas.microsoft.com/office/drawing/2014/main" id="{C17A032D-DB72-46B0-B4C8-EE8C8CC504F2}"/>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5" name="Freeform 13">
              <a:extLst>
                <a:ext uri="{FF2B5EF4-FFF2-40B4-BE49-F238E27FC236}">
                  <a16:creationId xmlns:a16="http://schemas.microsoft.com/office/drawing/2014/main" id="{2280FDE2-015D-4B7A-8900-05F5FB783060}"/>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6" name="Freeform 14">
              <a:extLst>
                <a:ext uri="{FF2B5EF4-FFF2-40B4-BE49-F238E27FC236}">
                  <a16:creationId xmlns:a16="http://schemas.microsoft.com/office/drawing/2014/main" id="{D3D1BB3D-6AD6-4BE1-893D-EBCB285005E9}"/>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7" name="Freeform 15">
              <a:extLst>
                <a:ext uri="{FF2B5EF4-FFF2-40B4-BE49-F238E27FC236}">
                  <a16:creationId xmlns:a16="http://schemas.microsoft.com/office/drawing/2014/main" id="{98B7DF92-85DC-454B-9A4B-F9A35E6A3C3A}"/>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8" name="Freeform 16">
              <a:extLst>
                <a:ext uri="{FF2B5EF4-FFF2-40B4-BE49-F238E27FC236}">
                  <a16:creationId xmlns:a16="http://schemas.microsoft.com/office/drawing/2014/main" id="{42944BA6-F9C0-48FA-B96D-E1DF6E30FA74}"/>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Freeform 17">
              <a:extLst>
                <a:ext uri="{FF2B5EF4-FFF2-40B4-BE49-F238E27FC236}">
                  <a16:creationId xmlns:a16="http://schemas.microsoft.com/office/drawing/2014/main" id="{AD76CDEE-75C6-43F6-B367-6EF14BC3B7FE}"/>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0" name="Freeform 18">
              <a:extLst>
                <a:ext uri="{FF2B5EF4-FFF2-40B4-BE49-F238E27FC236}">
                  <a16:creationId xmlns:a16="http://schemas.microsoft.com/office/drawing/2014/main" id="{DACB136F-C6ED-433D-9631-749BCDC77B78}"/>
                </a:ext>
              </a:extLst>
            </p:cNvPr>
            <p:cNvSpPr>
              <a:spLocks noEditPoints="1"/>
            </p:cNvSpPr>
            <p:nvPr/>
          </p:nvSpPr>
          <p:spPr bwMode="invGray">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1" name="Freeform 19">
              <a:extLst>
                <a:ext uri="{FF2B5EF4-FFF2-40B4-BE49-F238E27FC236}">
                  <a16:creationId xmlns:a16="http://schemas.microsoft.com/office/drawing/2014/main" id="{922FADCD-4917-47C7-ADDB-1574B3C49CA8}"/>
                </a:ext>
              </a:extLst>
            </p:cNvPr>
            <p:cNvSpPr>
              <a:spLocks/>
            </p:cNvSpPr>
            <p:nvPr/>
          </p:nvSpPr>
          <p:spPr bwMode="invGray">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2" name="Freeform 20">
              <a:extLst>
                <a:ext uri="{FF2B5EF4-FFF2-40B4-BE49-F238E27FC236}">
                  <a16:creationId xmlns:a16="http://schemas.microsoft.com/office/drawing/2014/main" id="{EEA96631-7CCE-49D6-A700-D76FF986E47F}"/>
                </a:ext>
              </a:extLst>
            </p:cNvPr>
            <p:cNvSpPr>
              <a:spLocks noEditPoints="1"/>
            </p:cNvSpPr>
            <p:nvPr/>
          </p:nvSpPr>
          <p:spPr bwMode="invGray">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Freeform 21">
              <a:extLst>
                <a:ext uri="{FF2B5EF4-FFF2-40B4-BE49-F238E27FC236}">
                  <a16:creationId xmlns:a16="http://schemas.microsoft.com/office/drawing/2014/main" id="{4BB24B6E-8D3D-449A-850B-52F8A8EF40A7}"/>
                </a:ext>
              </a:extLst>
            </p:cNvPr>
            <p:cNvSpPr>
              <a:spLocks noEditPoints="1"/>
            </p:cNvSpPr>
            <p:nvPr/>
          </p:nvSpPr>
          <p:spPr bwMode="invGray">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4" name="Freeform 22">
              <a:extLst>
                <a:ext uri="{FF2B5EF4-FFF2-40B4-BE49-F238E27FC236}">
                  <a16:creationId xmlns:a16="http://schemas.microsoft.com/office/drawing/2014/main" id="{767CA49F-CF78-4517-9D40-459A6165DB66}"/>
                </a:ext>
              </a:extLst>
            </p:cNvPr>
            <p:cNvSpPr>
              <a:spLocks/>
            </p:cNvSpPr>
            <p:nvPr/>
          </p:nvSpPr>
          <p:spPr bwMode="invGray">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5" name="Freeform 23">
              <a:extLst>
                <a:ext uri="{FF2B5EF4-FFF2-40B4-BE49-F238E27FC236}">
                  <a16:creationId xmlns:a16="http://schemas.microsoft.com/office/drawing/2014/main" id="{BCE97B83-65DD-49DB-AC39-56BB28ACA966}"/>
                </a:ext>
              </a:extLst>
            </p:cNvPr>
            <p:cNvSpPr>
              <a:spLocks/>
            </p:cNvSpPr>
            <p:nvPr/>
          </p:nvSpPr>
          <p:spPr bwMode="invGray">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24">
              <a:extLst>
                <a:ext uri="{FF2B5EF4-FFF2-40B4-BE49-F238E27FC236}">
                  <a16:creationId xmlns:a16="http://schemas.microsoft.com/office/drawing/2014/main" id="{3A70ECD6-5CB1-4ABC-BD20-5CD3C4FFDF5E}"/>
                </a:ext>
              </a:extLst>
            </p:cNvPr>
            <p:cNvSpPr>
              <a:spLocks/>
            </p:cNvSpPr>
            <p:nvPr/>
          </p:nvSpPr>
          <p:spPr bwMode="invGray">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7" name="Freeform 25">
              <a:extLst>
                <a:ext uri="{FF2B5EF4-FFF2-40B4-BE49-F238E27FC236}">
                  <a16:creationId xmlns:a16="http://schemas.microsoft.com/office/drawing/2014/main" id="{5A85C156-A249-4B2C-8A44-A8D8A3A0EEFE}"/>
                </a:ext>
              </a:extLst>
            </p:cNvPr>
            <p:cNvSpPr>
              <a:spLocks/>
            </p:cNvSpPr>
            <p:nvPr/>
          </p:nvSpPr>
          <p:spPr bwMode="invGray">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8" name="Freeform 26">
              <a:extLst>
                <a:ext uri="{FF2B5EF4-FFF2-40B4-BE49-F238E27FC236}">
                  <a16:creationId xmlns:a16="http://schemas.microsoft.com/office/drawing/2014/main" id="{91225174-20DB-4A4F-A5BB-9A114EDC0F3E}"/>
                </a:ext>
              </a:extLst>
            </p:cNvPr>
            <p:cNvSpPr>
              <a:spLocks/>
            </p:cNvSpPr>
            <p:nvPr/>
          </p:nvSpPr>
          <p:spPr bwMode="invGray">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9" name="Freeform 27">
              <a:extLst>
                <a:ext uri="{FF2B5EF4-FFF2-40B4-BE49-F238E27FC236}">
                  <a16:creationId xmlns:a16="http://schemas.microsoft.com/office/drawing/2014/main" id="{43682DD6-D2ED-4863-B27B-40F3CBE0E381}"/>
                </a:ext>
              </a:extLst>
            </p:cNvPr>
            <p:cNvSpPr>
              <a:spLocks/>
            </p:cNvSpPr>
            <p:nvPr/>
          </p:nvSpPr>
          <p:spPr bwMode="invGray">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0" name="Freeform 28">
              <a:extLst>
                <a:ext uri="{FF2B5EF4-FFF2-40B4-BE49-F238E27FC236}">
                  <a16:creationId xmlns:a16="http://schemas.microsoft.com/office/drawing/2014/main" id="{3D572001-B851-4D74-9AAD-13EE61D916F6}"/>
                </a:ext>
              </a:extLst>
            </p:cNvPr>
            <p:cNvSpPr>
              <a:spLocks noEditPoints="1"/>
            </p:cNvSpPr>
            <p:nvPr/>
          </p:nvSpPr>
          <p:spPr bwMode="invGray">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 name="Freeform 29">
              <a:extLst>
                <a:ext uri="{FF2B5EF4-FFF2-40B4-BE49-F238E27FC236}">
                  <a16:creationId xmlns:a16="http://schemas.microsoft.com/office/drawing/2014/main" id="{A827519A-33F0-4CCB-AE07-C95A795FF2FB}"/>
                </a:ext>
              </a:extLst>
            </p:cNvPr>
            <p:cNvSpPr>
              <a:spLocks/>
            </p:cNvSpPr>
            <p:nvPr/>
          </p:nvSpPr>
          <p:spPr bwMode="invGray">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2" name="Freeform 30">
              <a:extLst>
                <a:ext uri="{FF2B5EF4-FFF2-40B4-BE49-F238E27FC236}">
                  <a16:creationId xmlns:a16="http://schemas.microsoft.com/office/drawing/2014/main" id="{4BC09A9F-8959-48BA-9B94-7840D333316F}"/>
                </a:ext>
              </a:extLst>
            </p:cNvPr>
            <p:cNvSpPr>
              <a:spLocks noEditPoints="1"/>
            </p:cNvSpPr>
            <p:nvPr/>
          </p:nvSpPr>
          <p:spPr bwMode="invGray">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3" name="Freeform 31">
              <a:extLst>
                <a:ext uri="{FF2B5EF4-FFF2-40B4-BE49-F238E27FC236}">
                  <a16:creationId xmlns:a16="http://schemas.microsoft.com/office/drawing/2014/main" id="{125CF3D1-4644-4A4C-A605-6CBB28099392}"/>
                </a:ext>
              </a:extLst>
            </p:cNvPr>
            <p:cNvSpPr>
              <a:spLocks/>
            </p:cNvSpPr>
            <p:nvPr/>
          </p:nvSpPr>
          <p:spPr bwMode="invGray">
            <a:xfrm>
              <a:off x="11214461" y="970279"/>
              <a:ext cx="83679" cy="112444"/>
            </a:xfrm>
            <a:custGeom>
              <a:avLst/>
              <a:gdLst>
                <a:gd name="T0" fmla="*/ 123 w 123"/>
                <a:gd name="T1" fmla="*/ 94 h 165"/>
                <a:gd name="T2" fmla="*/ 107 w 123"/>
                <a:gd name="T3" fmla="*/ 147 h 165"/>
                <a:gd name="T4" fmla="*/ 62 w 123"/>
                <a:gd name="T5" fmla="*/ 165 h 165"/>
                <a:gd name="T6" fmla="*/ 39 w 123"/>
                <a:gd name="T7" fmla="*/ 161 h 165"/>
                <a:gd name="T8" fmla="*/ 22 w 123"/>
                <a:gd name="T9" fmla="*/ 151 h 165"/>
                <a:gd name="T10" fmla="*/ 8 w 123"/>
                <a:gd name="T11" fmla="*/ 136 h 165"/>
                <a:gd name="T12" fmla="*/ 0 w 123"/>
                <a:gd name="T13" fmla="*/ 117 h 165"/>
                <a:gd name="T14" fmla="*/ 31 w 123"/>
                <a:gd name="T15" fmla="*/ 108 h 165"/>
                <a:gd name="T16" fmla="*/ 36 w 123"/>
                <a:gd name="T17" fmla="*/ 119 h 165"/>
                <a:gd name="T18" fmla="*/ 43 w 123"/>
                <a:gd name="T19" fmla="*/ 126 h 165"/>
                <a:gd name="T20" fmla="*/ 51 w 123"/>
                <a:gd name="T21" fmla="*/ 131 h 165"/>
                <a:gd name="T22" fmla="*/ 62 w 123"/>
                <a:gd name="T23" fmla="*/ 132 h 165"/>
                <a:gd name="T24" fmla="*/ 75 w 123"/>
                <a:gd name="T25" fmla="*/ 130 h 165"/>
                <a:gd name="T26" fmla="*/ 84 w 123"/>
                <a:gd name="T27" fmla="*/ 123 h 165"/>
                <a:gd name="T28" fmla="*/ 89 w 123"/>
                <a:gd name="T29" fmla="*/ 111 h 165"/>
                <a:gd name="T30" fmla="*/ 91 w 123"/>
                <a:gd name="T31" fmla="*/ 95 h 165"/>
                <a:gd name="T32" fmla="*/ 91 w 123"/>
                <a:gd name="T33" fmla="*/ 0 h 165"/>
                <a:gd name="T34" fmla="*/ 123 w 123"/>
                <a:gd name="T35" fmla="*/ 0 h 165"/>
                <a:gd name="T36" fmla="*/ 123 w 123"/>
                <a:gd name="T37" fmla="*/ 9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65">
                  <a:moveTo>
                    <a:pt x="123" y="94"/>
                  </a:moveTo>
                  <a:cubicBezTo>
                    <a:pt x="123" y="117"/>
                    <a:pt x="118" y="135"/>
                    <a:pt x="107" y="147"/>
                  </a:cubicBezTo>
                  <a:cubicBezTo>
                    <a:pt x="97" y="159"/>
                    <a:pt x="81" y="165"/>
                    <a:pt x="62" y="165"/>
                  </a:cubicBezTo>
                  <a:cubicBezTo>
                    <a:pt x="54" y="165"/>
                    <a:pt x="46" y="163"/>
                    <a:pt x="39" y="161"/>
                  </a:cubicBezTo>
                  <a:cubicBezTo>
                    <a:pt x="33" y="159"/>
                    <a:pt x="27" y="155"/>
                    <a:pt x="22" y="151"/>
                  </a:cubicBezTo>
                  <a:cubicBezTo>
                    <a:pt x="16" y="147"/>
                    <a:pt x="12" y="142"/>
                    <a:pt x="8" y="136"/>
                  </a:cubicBezTo>
                  <a:cubicBezTo>
                    <a:pt x="4" y="130"/>
                    <a:pt x="2" y="124"/>
                    <a:pt x="0" y="117"/>
                  </a:cubicBezTo>
                  <a:cubicBezTo>
                    <a:pt x="31" y="108"/>
                    <a:pt x="31" y="108"/>
                    <a:pt x="31" y="108"/>
                  </a:cubicBezTo>
                  <a:cubicBezTo>
                    <a:pt x="33" y="113"/>
                    <a:pt x="35" y="116"/>
                    <a:pt x="36" y="119"/>
                  </a:cubicBezTo>
                  <a:cubicBezTo>
                    <a:pt x="38" y="122"/>
                    <a:pt x="40" y="124"/>
                    <a:pt x="43" y="126"/>
                  </a:cubicBezTo>
                  <a:cubicBezTo>
                    <a:pt x="45" y="128"/>
                    <a:pt x="48" y="130"/>
                    <a:pt x="51" y="131"/>
                  </a:cubicBezTo>
                  <a:cubicBezTo>
                    <a:pt x="54" y="132"/>
                    <a:pt x="58" y="132"/>
                    <a:pt x="62" y="132"/>
                  </a:cubicBezTo>
                  <a:cubicBezTo>
                    <a:pt x="67" y="132"/>
                    <a:pt x="71" y="131"/>
                    <a:pt x="75" y="130"/>
                  </a:cubicBezTo>
                  <a:cubicBezTo>
                    <a:pt x="78" y="128"/>
                    <a:pt x="81" y="126"/>
                    <a:pt x="84" y="123"/>
                  </a:cubicBezTo>
                  <a:cubicBezTo>
                    <a:pt x="86" y="119"/>
                    <a:pt x="88" y="115"/>
                    <a:pt x="89" y="111"/>
                  </a:cubicBezTo>
                  <a:cubicBezTo>
                    <a:pt x="90" y="106"/>
                    <a:pt x="91" y="101"/>
                    <a:pt x="91" y="95"/>
                  </a:cubicBezTo>
                  <a:cubicBezTo>
                    <a:pt x="91" y="0"/>
                    <a:pt x="91" y="0"/>
                    <a:pt x="91" y="0"/>
                  </a:cubicBezTo>
                  <a:cubicBezTo>
                    <a:pt x="123" y="0"/>
                    <a:pt x="123" y="0"/>
                    <a:pt x="123" y="0"/>
                  </a:cubicBezTo>
                  <a:lnTo>
                    <a:pt x="123" y="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4" name="Freeform 32">
              <a:extLst>
                <a:ext uri="{FF2B5EF4-FFF2-40B4-BE49-F238E27FC236}">
                  <a16:creationId xmlns:a16="http://schemas.microsoft.com/office/drawing/2014/main" id="{5C66EC1B-AD1B-491B-A19A-A2C96C78BC6A}"/>
                </a:ext>
              </a:extLst>
            </p:cNvPr>
            <p:cNvSpPr>
              <a:spLocks noEditPoints="1"/>
            </p:cNvSpPr>
            <p:nvPr/>
          </p:nvSpPr>
          <p:spPr bwMode="invGray">
            <a:xfrm>
              <a:off x="11312522" y="970279"/>
              <a:ext cx="105907" cy="111137"/>
            </a:xfrm>
            <a:custGeom>
              <a:avLst/>
              <a:gdLst>
                <a:gd name="T0" fmla="*/ 81 w 81"/>
                <a:gd name="T1" fmla="*/ 85 h 85"/>
                <a:gd name="T2" fmla="*/ 63 w 81"/>
                <a:gd name="T3" fmla="*/ 85 h 85"/>
                <a:gd name="T4" fmla="*/ 56 w 81"/>
                <a:gd name="T5" fmla="*/ 66 h 85"/>
                <a:gd name="T6" fmla="*/ 24 w 81"/>
                <a:gd name="T7" fmla="*/ 66 h 85"/>
                <a:gd name="T8" fmla="*/ 18 w 81"/>
                <a:gd name="T9" fmla="*/ 85 h 85"/>
                <a:gd name="T10" fmla="*/ 0 w 81"/>
                <a:gd name="T11" fmla="*/ 85 h 85"/>
                <a:gd name="T12" fmla="*/ 32 w 81"/>
                <a:gd name="T13" fmla="*/ 0 h 85"/>
                <a:gd name="T14" fmla="*/ 49 w 81"/>
                <a:gd name="T15" fmla="*/ 0 h 85"/>
                <a:gd name="T16" fmla="*/ 81 w 81"/>
                <a:gd name="T17" fmla="*/ 85 h 85"/>
                <a:gd name="T18" fmla="*/ 50 w 81"/>
                <a:gd name="T19" fmla="*/ 50 h 85"/>
                <a:gd name="T20" fmla="*/ 40 w 81"/>
                <a:gd name="T21" fmla="*/ 22 h 85"/>
                <a:gd name="T22" fmla="*/ 31 w 81"/>
                <a:gd name="T23" fmla="*/ 50 h 85"/>
                <a:gd name="T24" fmla="*/ 50 w 81"/>
                <a:gd name="T25"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5">
                  <a:moveTo>
                    <a:pt x="81" y="85"/>
                  </a:moveTo>
                  <a:lnTo>
                    <a:pt x="63" y="85"/>
                  </a:lnTo>
                  <a:lnTo>
                    <a:pt x="56" y="66"/>
                  </a:lnTo>
                  <a:lnTo>
                    <a:pt x="24" y="66"/>
                  </a:lnTo>
                  <a:lnTo>
                    <a:pt x="18" y="85"/>
                  </a:lnTo>
                  <a:lnTo>
                    <a:pt x="0" y="85"/>
                  </a:lnTo>
                  <a:lnTo>
                    <a:pt x="32" y="0"/>
                  </a:lnTo>
                  <a:lnTo>
                    <a:pt x="49" y="0"/>
                  </a:lnTo>
                  <a:lnTo>
                    <a:pt x="81" y="85"/>
                  </a:lnTo>
                  <a:close/>
                  <a:moveTo>
                    <a:pt x="50" y="50"/>
                  </a:moveTo>
                  <a:lnTo>
                    <a:pt x="40" y="22"/>
                  </a:lnTo>
                  <a:lnTo>
                    <a:pt x="31" y="50"/>
                  </a:lnTo>
                  <a:lnTo>
                    <a:pt x="50"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5" name="Freeform 33">
              <a:extLst>
                <a:ext uri="{FF2B5EF4-FFF2-40B4-BE49-F238E27FC236}">
                  <a16:creationId xmlns:a16="http://schemas.microsoft.com/office/drawing/2014/main" id="{DE0C7275-54C1-4C0E-A900-3BA9CF18FC7F}"/>
                </a:ext>
              </a:extLst>
            </p:cNvPr>
            <p:cNvSpPr>
              <a:spLocks/>
            </p:cNvSpPr>
            <p:nvPr/>
          </p:nvSpPr>
          <p:spPr bwMode="invGray">
            <a:xfrm>
              <a:off x="11439349" y="970279"/>
              <a:ext cx="88909" cy="111137"/>
            </a:xfrm>
            <a:custGeom>
              <a:avLst/>
              <a:gdLst>
                <a:gd name="T0" fmla="*/ 51 w 68"/>
                <a:gd name="T1" fmla="*/ 85 h 85"/>
                <a:gd name="T2" fmla="*/ 51 w 68"/>
                <a:gd name="T3" fmla="*/ 49 h 85"/>
                <a:gd name="T4" fmla="*/ 17 w 68"/>
                <a:gd name="T5" fmla="*/ 49 h 85"/>
                <a:gd name="T6" fmla="*/ 17 w 68"/>
                <a:gd name="T7" fmla="*/ 85 h 85"/>
                <a:gd name="T8" fmla="*/ 0 w 68"/>
                <a:gd name="T9" fmla="*/ 85 h 85"/>
                <a:gd name="T10" fmla="*/ 0 w 68"/>
                <a:gd name="T11" fmla="*/ 0 h 85"/>
                <a:gd name="T12" fmla="*/ 17 w 68"/>
                <a:gd name="T13" fmla="*/ 0 h 85"/>
                <a:gd name="T14" fmla="*/ 17 w 68"/>
                <a:gd name="T15" fmla="*/ 33 h 85"/>
                <a:gd name="T16" fmla="*/ 51 w 68"/>
                <a:gd name="T17" fmla="*/ 33 h 85"/>
                <a:gd name="T18" fmla="*/ 51 w 68"/>
                <a:gd name="T19" fmla="*/ 0 h 85"/>
                <a:gd name="T20" fmla="*/ 68 w 68"/>
                <a:gd name="T21" fmla="*/ 0 h 85"/>
                <a:gd name="T22" fmla="*/ 68 w 68"/>
                <a:gd name="T23" fmla="*/ 85 h 85"/>
                <a:gd name="T24" fmla="*/ 51 w 68"/>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5">
                  <a:moveTo>
                    <a:pt x="51" y="85"/>
                  </a:moveTo>
                  <a:lnTo>
                    <a:pt x="51" y="49"/>
                  </a:lnTo>
                  <a:lnTo>
                    <a:pt x="17" y="49"/>
                  </a:lnTo>
                  <a:lnTo>
                    <a:pt x="17" y="85"/>
                  </a:lnTo>
                  <a:lnTo>
                    <a:pt x="0" y="85"/>
                  </a:lnTo>
                  <a:lnTo>
                    <a:pt x="0" y="0"/>
                  </a:lnTo>
                  <a:lnTo>
                    <a:pt x="17" y="0"/>
                  </a:lnTo>
                  <a:lnTo>
                    <a:pt x="17" y="33"/>
                  </a:lnTo>
                  <a:lnTo>
                    <a:pt x="51" y="33"/>
                  </a:lnTo>
                  <a:lnTo>
                    <a:pt x="51" y="0"/>
                  </a:lnTo>
                  <a:lnTo>
                    <a:pt x="68" y="0"/>
                  </a:lnTo>
                  <a:lnTo>
                    <a:pt x="68" y="85"/>
                  </a:lnTo>
                  <a:lnTo>
                    <a:pt x="5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6" name="Freeform 34">
              <a:extLst>
                <a:ext uri="{FF2B5EF4-FFF2-40B4-BE49-F238E27FC236}">
                  <a16:creationId xmlns:a16="http://schemas.microsoft.com/office/drawing/2014/main" id="{0A332B72-1C98-486F-B1D7-FD53CDB0B0EC}"/>
                </a:ext>
              </a:extLst>
            </p:cNvPr>
            <p:cNvSpPr>
              <a:spLocks noEditPoints="1"/>
            </p:cNvSpPr>
            <p:nvPr/>
          </p:nvSpPr>
          <p:spPr bwMode="invGray">
            <a:xfrm>
              <a:off x="11557023" y="970279"/>
              <a:ext cx="90217" cy="111137"/>
            </a:xfrm>
            <a:custGeom>
              <a:avLst/>
              <a:gdLst>
                <a:gd name="T0" fmla="*/ 94 w 131"/>
                <a:gd name="T1" fmla="*/ 162 h 162"/>
                <a:gd name="T2" fmla="*/ 65 w 131"/>
                <a:gd name="T3" fmla="*/ 104 h 162"/>
                <a:gd name="T4" fmla="*/ 32 w 131"/>
                <a:gd name="T5" fmla="*/ 104 h 162"/>
                <a:gd name="T6" fmla="*/ 32 w 131"/>
                <a:gd name="T7" fmla="*/ 162 h 162"/>
                <a:gd name="T8" fmla="*/ 0 w 131"/>
                <a:gd name="T9" fmla="*/ 162 h 162"/>
                <a:gd name="T10" fmla="*/ 0 w 131"/>
                <a:gd name="T11" fmla="*/ 0 h 162"/>
                <a:gd name="T12" fmla="*/ 75 w 131"/>
                <a:gd name="T13" fmla="*/ 0 h 162"/>
                <a:gd name="T14" fmla="*/ 97 w 131"/>
                <a:gd name="T15" fmla="*/ 3 h 162"/>
                <a:gd name="T16" fmla="*/ 115 w 131"/>
                <a:gd name="T17" fmla="*/ 12 h 162"/>
                <a:gd name="T18" fmla="*/ 127 w 131"/>
                <a:gd name="T19" fmla="*/ 29 h 162"/>
                <a:gd name="T20" fmla="*/ 131 w 131"/>
                <a:gd name="T21" fmla="*/ 51 h 162"/>
                <a:gd name="T22" fmla="*/ 129 w 131"/>
                <a:gd name="T23" fmla="*/ 68 h 162"/>
                <a:gd name="T24" fmla="*/ 123 w 131"/>
                <a:gd name="T25" fmla="*/ 81 h 162"/>
                <a:gd name="T26" fmla="*/ 113 w 131"/>
                <a:gd name="T27" fmla="*/ 92 h 162"/>
                <a:gd name="T28" fmla="*/ 100 w 131"/>
                <a:gd name="T29" fmla="*/ 99 h 162"/>
                <a:gd name="T30" fmla="*/ 131 w 131"/>
                <a:gd name="T31" fmla="*/ 162 h 162"/>
                <a:gd name="T32" fmla="*/ 94 w 131"/>
                <a:gd name="T33" fmla="*/ 162 h 162"/>
                <a:gd name="T34" fmla="*/ 98 w 131"/>
                <a:gd name="T35" fmla="*/ 52 h 162"/>
                <a:gd name="T36" fmla="*/ 96 w 131"/>
                <a:gd name="T37" fmla="*/ 42 h 162"/>
                <a:gd name="T38" fmla="*/ 91 w 131"/>
                <a:gd name="T39" fmla="*/ 36 h 162"/>
                <a:gd name="T40" fmla="*/ 84 w 131"/>
                <a:gd name="T41" fmla="*/ 32 h 162"/>
                <a:gd name="T42" fmla="*/ 75 w 131"/>
                <a:gd name="T43" fmla="*/ 31 h 162"/>
                <a:gd name="T44" fmla="*/ 32 w 131"/>
                <a:gd name="T45" fmla="*/ 31 h 162"/>
                <a:gd name="T46" fmla="*/ 32 w 131"/>
                <a:gd name="T47" fmla="*/ 73 h 162"/>
                <a:gd name="T48" fmla="*/ 75 w 131"/>
                <a:gd name="T49" fmla="*/ 73 h 162"/>
                <a:gd name="T50" fmla="*/ 85 w 131"/>
                <a:gd name="T51" fmla="*/ 72 h 162"/>
                <a:gd name="T52" fmla="*/ 92 w 131"/>
                <a:gd name="T53" fmla="*/ 67 h 162"/>
                <a:gd name="T54" fmla="*/ 96 w 131"/>
                <a:gd name="T55" fmla="*/ 61 h 162"/>
                <a:gd name="T56" fmla="*/ 98 w 131"/>
                <a:gd name="T57" fmla="*/ 5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 h="162">
                  <a:moveTo>
                    <a:pt x="94" y="162"/>
                  </a:moveTo>
                  <a:cubicBezTo>
                    <a:pt x="65" y="104"/>
                    <a:pt x="65" y="104"/>
                    <a:pt x="65" y="104"/>
                  </a:cubicBezTo>
                  <a:cubicBezTo>
                    <a:pt x="32" y="104"/>
                    <a:pt x="32" y="104"/>
                    <a:pt x="32" y="104"/>
                  </a:cubicBezTo>
                  <a:cubicBezTo>
                    <a:pt x="32" y="162"/>
                    <a:pt x="32" y="162"/>
                    <a:pt x="32" y="162"/>
                  </a:cubicBezTo>
                  <a:cubicBezTo>
                    <a:pt x="0" y="162"/>
                    <a:pt x="0" y="162"/>
                    <a:pt x="0" y="162"/>
                  </a:cubicBezTo>
                  <a:cubicBezTo>
                    <a:pt x="0" y="0"/>
                    <a:pt x="0" y="0"/>
                    <a:pt x="0" y="0"/>
                  </a:cubicBezTo>
                  <a:cubicBezTo>
                    <a:pt x="75" y="0"/>
                    <a:pt x="75" y="0"/>
                    <a:pt x="75" y="0"/>
                  </a:cubicBezTo>
                  <a:cubicBezTo>
                    <a:pt x="83" y="0"/>
                    <a:pt x="90" y="1"/>
                    <a:pt x="97" y="3"/>
                  </a:cubicBezTo>
                  <a:cubicBezTo>
                    <a:pt x="104" y="5"/>
                    <a:pt x="110" y="8"/>
                    <a:pt x="115" y="12"/>
                  </a:cubicBezTo>
                  <a:cubicBezTo>
                    <a:pt x="120" y="17"/>
                    <a:pt x="124" y="22"/>
                    <a:pt x="127" y="29"/>
                  </a:cubicBezTo>
                  <a:cubicBezTo>
                    <a:pt x="130" y="35"/>
                    <a:pt x="131" y="42"/>
                    <a:pt x="131" y="51"/>
                  </a:cubicBezTo>
                  <a:cubicBezTo>
                    <a:pt x="131" y="58"/>
                    <a:pt x="130" y="63"/>
                    <a:pt x="129" y="68"/>
                  </a:cubicBezTo>
                  <a:cubicBezTo>
                    <a:pt x="128" y="73"/>
                    <a:pt x="126" y="78"/>
                    <a:pt x="123" y="81"/>
                  </a:cubicBezTo>
                  <a:cubicBezTo>
                    <a:pt x="120" y="85"/>
                    <a:pt x="117" y="89"/>
                    <a:pt x="113" y="92"/>
                  </a:cubicBezTo>
                  <a:cubicBezTo>
                    <a:pt x="110" y="94"/>
                    <a:pt x="105" y="97"/>
                    <a:pt x="100" y="99"/>
                  </a:cubicBezTo>
                  <a:cubicBezTo>
                    <a:pt x="131" y="162"/>
                    <a:pt x="131" y="162"/>
                    <a:pt x="131" y="162"/>
                  </a:cubicBezTo>
                  <a:lnTo>
                    <a:pt x="94" y="162"/>
                  </a:lnTo>
                  <a:close/>
                  <a:moveTo>
                    <a:pt x="98" y="52"/>
                  </a:moveTo>
                  <a:cubicBezTo>
                    <a:pt x="98" y="48"/>
                    <a:pt x="97" y="45"/>
                    <a:pt x="96" y="42"/>
                  </a:cubicBezTo>
                  <a:cubicBezTo>
                    <a:pt x="95" y="39"/>
                    <a:pt x="93" y="37"/>
                    <a:pt x="91" y="36"/>
                  </a:cubicBezTo>
                  <a:cubicBezTo>
                    <a:pt x="89" y="34"/>
                    <a:pt x="86" y="33"/>
                    <a:pt x="84" y="32"/>
                  </a:cubicBezTo>
                  <a:cubicBezTo>
                    <a:pt x="81" y="32"/>
                    <a:pt x="78" y="31"/>
                    <a:pt x="75" y="31"/>
                  </a:cubicBezTo>
                  <a:cubicBezTo>
                    <a:pt x="32" y="31"/>
                    <a:pt x="32" y="31"/>
                    <a:pt x="32" y="31"/>
                  </a:cubicBezTo>
                  <a:cubicBezTo>
                    <a:pt x="32" y="73"/>
                    <a:pt x="32" y="73"/>
                    <a:pt x="32" y="73"/>
                  </a:cubicBezTo>
                  <a:cubicBezTo>
                    <a:pt x="75" y="73"/>
                    <a:pt x="75" y="73"/>
                    <a:pt x="75" y="73"/>
                  </a:cubicBezTo>
                  <a:cubicBezTo>
                    <a:pt x="79" y="73"/>
                    <a:pt x="82" y="72"/>
                    <a:pt x="85" y="72"/>
                  </a:cubicBezTo>
                  <a:cubicBezTo>
                    <a:pt x="88" y="71"/>
                    <a:pt x="90" y="69"/>
                    <a:pt x="92" y="67"/>
                  </a:cubicBezTo>
                  <a:cubicBezTo>
                    <a:pt x="94" y="66"/>
                    <a:pt x="95" y="64"/>
                    <a:pt x="96" y="61"/>
                  </a:cubicBezTo>
                  <a:cubicBezTo>
                    <a:pt x="97" y="58"/>
                    <a:pt x="98" y="55"/>
                    <a:pt x="98" y="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7" name="Freeform 35">
              <a:extLst>
                <a:ext uri="{FF2B5EF4-FFF2-40B4-BE49-F238E27FC236}">
                  <a16:creationId xmlns:a16="http://schemas.microsoft.com/office/drawing/2014/main" id="{B3BCF9E1-0026-4389-B268-FEF82FAE2561}"/>
                </a:ext>
              </a:extLst>
            </p:cNvPr>
            <p:cNvSpPr>
              <a:spLocks/>
            </p:cNvSpPr>
            <p:nvPr/>
          </p:nvSpPr>
          <p:spPr bwMode="invGray">
            <a:xfrm>
              <a:off x="11669468" y="970279"/>
              <a:ext cx="79757" cy="111137"/>
            </a:xfrm>
            <a:custGeom>
              <a:avLst/>
              <a:gdLst>
                <a:gd name="T0" fmla="*/ 61 w 61"/>
                <a:gd name="T1" fmla="*/ 85 h 85"/>
                <a:gd name="T2" fmla="*/ 0 w 61"/>
                <a:gd name="T3" fmla="*/ 85 h 85"/>
                <a:gd name="T4" fmla="*/ 0 w 61"/>
                <a:gd name="T5" fmla="*/ 0 h 85"/>
                <a:gd name="T6" fmla="*/ 59 w 61"/>
                <a:gd name="T7" fmla="*/ 0 h 85"/>
                <a:gd name="T8" fmla="*/ 59 w 61"/>
                <a:gd name="T9" fmla="*/ 16 h 85"/>
                <a:gd name="T10" fmla="*/ 18 w 61"/>
                <a:gd name="T11" fmla="*/ 16 h 85"/>
                <a:gd name="T12" fmla="*/ 18 w 61"/>
                <a:gd name="T13" fmla="*/ 31 h 85"/>
                <a:gd name="T14" fmla="*/ 52 w 61"/>
                <a:gd name="T15" fmla="*/ 31 h 85"/>
                <a:gd name="T16" fmla="*/ 52 w 61"/>
                <a:gd name="T17" fmla="*/ 48 h 85"/>
                <a:gd name="T18" fmla="*/ 18 w 61"/>
                <a:gd name="T19" fmla="*/ 48 h 85"/>
                <a:gd name="T20" fmla="*/ 18 w 61"/>
                <a:gd name="T21" fmla="*/ 68 h 85"/>
                <a:gd name="T22" fmla="*/ 61 w 61"/>
                <a:gd name="T23" fmla="*/ 68 h 85"/>
                <a:gd name="T24" fmla="*/ 61 w 61"/>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5">
                  <a:moveTo>
                    <a:pt x="61" y="85"/>
                  </a:moveTo>
                  <a:lnTo>
                    <a:pt x="0" y="85"/>
                  </a:lnTo>
                  <a:lnTo>
                    <a:pt x="0" y="0"/>
                  </a:lnTo>
                  <a:lnTo>
                    <a:pt x="59" y="0"/>
                  </a:lnTo>
                  <a:lnTo>
                    <a:pt x="59" y="16"/>
                  </a:lnTo>
                  <a:lnTo>
                    <a:pt x="18" y="16"/>
                  </a:lnTo>
                  <a:lnTo>
                    <a:pt x="18" y="31"/>
                  </a:lnTo>
                  <a:lnTo>
                    <a:pt x="52" y="31"/>
                  </a:lnTo>
                  <a:lnTo>
                    <a:pt x="52" y="48"/>
                  </a:lnTo>
                  <a:lnTo>
                    <a:pt x="18" y="48"/>
                  </a:lnTo>
                  <a:lnTo>
                    <a:pt x="18" y="68"/>
                  </a:lnTo>
                  <a:lnTo>
                    <a:pt x="61" y="68"/>
                  </a:lnTo>
                  <a:lnTo>
                    <a:pt x="6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36">
              <a:extLst>
                <a:ext uri="{FF2B5EF4-FFF2-40B4-BE49-F238E27FC236}">
                  <a16:creationId xmlns:a16="http://schemas.microsoft.com/office/drawing/2014/main" id="{649F954E-57A5-4CCA-9CAB-F232FEBD5F36}"/>
                </a:ext>
              </a:extLst>
            </p:cNvPr>
            <p:cNvSpPr>
              <a:spLocks/>
            </p:cNvSpPr>
            <p:nvPr/>
          </p:nvSpPr>
          <p:spPr bwMode="invGray">
            <a:xfrm>
              <a:off x="9731769" y="1013426"/>
              <a:ext cx="261498" cy="366097"/>
            </a:xfrm>
            <a:custGeom>
              <a:avLst/>
              <a:gdLst>
                <a:gd name="T0" fmla="*/ 200 w 200"/>
                <a:gd name="T1" fmla="*/ 280 h 280"/>
                <a:gd name="T2" fmla="*/ 0 w 200"/>
                <a:gd name="T3" fmla="*/ 280 h 280"/>
                <a:gd name="T4" fmla="*/ 0 w 200"/>
                <a:gd name="T5" fmla="*/ 0 h 280"/>
                <a:gd name="T6" fmla="*/ 181 w 200"/>
                <a:gd name="T7" fmla="*/ 0 h 280"/>
                <a:gd name="T8" fmla="*/ 181 w 200"/>
                <a:gd name="T9" fmla="*/ 55 h 280"/>
                <a:gd name="T10" fmla="*/ 55 w 200"/>
                <a:gd name="T11" fmla="*/ 55 h 280"/>
                <a:gd name="T12" fmla="*/ 55 w 200"/>
                <a:gd name="T13" fmla="*/ 103 h 280"/>
                <a:gd name="T14" fmla="*/ 168 w 200"/>
                <a:gd name="T15" fmla="*/ 103 h 280"/>
                <a:gd name="T16" fmla="*/ 168 w 200"/>
                <a:gd name="T17" fmla="*/ 157 h 280"/>
                <a:gd name="T18" fmla="*/ 55 w 200"/>
                <a:gd name="T19" fmla="*/ 157 h 280"/>
                <a:gd name="T20" fmla="*/ 55 w 200"/>
                <a:gd name="T21" fmla="*/ 225 h 280"/>
                <a:gd name="T22" fmla="*/ 200 w 200"/>
                <a:gd name="T23" fmla="*/ 225 h 280"/>
                <a:gd name="T24" fmla="*/ 200 w 200"/>
                <a:gd name="T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80">
                  <a:moveTo>
                    <a:pt x="200" y="280"/>
                  </a:moveTo>
                  <a:lnTo>
                    <a:pt x="0" y="280"/>
                  </a:lnTo>
                  <a:lnTo>
                    <a:pt x="0" y="0"/>
                  </a:lnTo>
                  <a:lnTo>
                    <a:pt x="181" y="0"/>
                  </a:lnTo>
                  <a:lnTo>
                    <a:pt x="181" y="55"/>
                  </a:lnTo>
                  <a:lnTo>
                    <a:pt x="55" y="55"/>
                  </a:lnTo>
                  <a:lnTo>
                    <a:pt x="55" y="103"/>
                  </a:lnTo>
                  <a:lnTo>
                    <a:pt x="168" y="103"/>
                  </a:lnTo>
                  <a:lnTo>
                    <a:pt x="168" y="157"/>
                  </a:lnTo>
                  <a:lnTo>
                    <a:pt x="55" y="157"/>
                  </a:lnTo>
                  <a:lnTo>
                    <a:pt x="55" y="225"/>
                  </a:lnTo>
                  <a:lnTo>
                    <a:pt x="200" y="225"/>
                  </a:lnTo>
                  <a:lnTo>
                    <a:pt x="200" y="28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9" name="Freeform 37">
              <a:extLst>
                <a:ext uri="{FF2B5EF4-FFF2-40B4-BE49-F238E27FC236}">
                  <a16:creationId xmlns:a16="http://schemas.microsoft.com/office/drawing/2014/main" id="{6DE56CC7-4BD4-440A-97FD-A8FAEC415494}"/>
                </a:ext>
              </a:extLst>
            </p:cNvPr>
            <p:cNvSpPr>
              <a:spLocks/>
            </p:cNvSpPr>
            <p:nvPr/>
          </p:nvSpPr>
          <p:spPr bwMode="invGray">
            <a:xfrm>
              <a:off x="9981497" y="1013426"/>
              <a:ext cx="334717" cy="366097"/>
            </a:xfrm>
            <a:custGeom>
              <a:avLst/>
              <a:gdLst>
                <a:gd name="T0" fmla="*/ 256 w 256"/>
                <a:gd name="T1" fmla="*/ 0 h 280"/>
                <a:gd name="T2" fmla="*/ 156 w 256"/>
                <a:gd name="T3" fmla="*/ 157 h 280"/>
                <a:gd name="T4" fmla="*/ 156 w 256"/>
                <a:gd name="T5" fmla="*/ 280 h 280"/>
                <a:gd name="T6" fmla="*/ 100 w 256"/>
                <a:gd name="T7" fmla="*/ 280 h 280"/>
                <a:gd name="T8" fmla="*/ 100 w 256"/>
                <a:gd name="T9" fmla="*/ 159 h 280"/>
                <a:gd name="T10" fmla="*/ 0 w 256"/>
                <a:gd name="T11" fmla="*/ 0 h 280"/>
                <a:gd name="T12" fmla="*/ 64 w 256"/>
                <a:gd name="T13" fmla="*/ 0 h 280"/>
                <a:gd name="T14" fmla="*/ 128 w 256"/>
                <a:gd name="T15" fmla="*/ 106 h 280"/>
                <a:gd name="T16" fmla="*/ 192 w 256"/>
                <a:gd name="T17" fmla="*/ 0 h 280"/>
                <a:gd name="T18" fmla="*/ 256 w 256"/>
                <a:gd name="T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80">
                  <a:moveTo>
                    <a:pt x="256" y="0"/>
                  </a:moveTo>
                  <a:lnTo>
                    <a:pt x="156" y="157"/>
                  </a:lnTo>
                  <a:lnTo>
                    <a:pt x="156" y="280"/>
                  </a:lnTo>
                  <a:lnTo>
                    <a:pt x="100" y="280"/>
                  </a:lnTo>
                  <a:lnTo>
                    <a:pt x="100" y="159"/>
                  </a:lnTo>
                  <a:lnTo>
                    <a:pt x="0" y="0"/>
                  </a:lnTo>
                  <a:lnTo>
                    <a:pt x="64" y="0"/>
                  </a:lnTo>
                  <a:lnTo>
                    <a:pt x="128" y="106"/>
                  </a:lnTo>
                  <a:lnTo>
                    <a:pt x="192"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0" name="Freeform 38">
              <a:extLst>
                <a:ext uri="{FF2B5EF4-FFF2-40B4-BE49-F238E27FC236}">
                  <a16:creationId xmlns:a16="http://schemas.microsoft.com/office/drawing/2014/main" id="{658A3BBD-2F70-448C-911B-74A58B3D4525}"/>
                </a:ext>
              </a:extLst>
            </p:cNvPr>
            <p:cNvSpPr>
              <a:spLocks noEditPoints="1"/>
            </p:cNvSpPr>
            <p:nvPr/>
          </p:nvSpPr>
          <p:spPr bwMode="invGray">
            <a:xfrm>
              <a:off x="10199846" y="638177"/>
              <a:ext cx="1435622" cy="1039454"/>
            </a:xfrm>
            <a:custGeom>
              <a:avLst/>
              <a:gdLst>
                <a:gd name="T0" fmla="*/ 0 w 2104"/>
                <a:gd name="T1" fmla="*/ 293 h 1521"/>
                <a:gd name="T2" fmla="*/ 243 w 2104"/>
                <a:gd name="T3" fmla="*/ 139 h 1521"/>
                <a:gd name="T4" fmla="*/ 243 w 2104"/>
                <a:gd name="T5" fmla="*/ 191 h 1521"/>
                <a:gd name="T6" fmla="*/ 176 w 2104"/>
                <a:gd name="T7" fmla="*/ 1056 h 1521"/>
                <a:gd name="T8" fmla="*/ 279 w 2104"/>
                <a:gd name="T9" fmla="*/ 25 h 1521"/>
                <a:gd name="T10" fmla="*/ 1557 w 2104"/>
                <a:gd name="T11" fmla="*/ 1144 h 1521"/>
                <a:gd name="T12" fmla="*/ 1557 w 2104"/>
                <a:gd name="T13" fmla="*/ 1108 h 1521"/>
                <a:gd name="T14" fmla="*/ 1557 w 2104"/>
                <a:gd name="T15" fmla="*/ 1072 h 1521"/>
                <a:gd name="T16" fmla="*/ 1557 w 2104"/>
                <a:gd name="T17" fmla="*/ 1035 h 1521"/>
                <a:gd name="T18" fmla="*/ 1557 w 2104"/>
                <a:gd name="T19" fmla="*/ 1000 h 1521"/>
                <a:gd name="T20" fmla="*/ 1186 w 2104"/>
                <a:gd name="T21" fmla="*/ 465 h 1521"/>
                <a:gd name="T22" fmla="*/ 1915 w 2104"/>
                <a:gd name="T23" fmla="*/ 372 h 1521"/>
                <a:gd name="T24" fmla="*/ 1099 w 2104"/>
                <a:gd name="T25" fmla="*/ 499 h 1521"/>
                <a:gd name="T26" fmla="*/ 1977 w 2104"/>
                <a:gd name="T27" fmla="*/ 426 h 1521"/>
                <a:gd name="T28" fmla="*/ 1089 w 2104"/>
                <a:gd name="T29" fmla="*/ 421 h 1521"/>
                <a:gd name="T30" fmla="*/ 1565 w 2104"/>
                <a:gd name="T31" fmla="*/ 60 h 1521"/>
                <a:gd name="T32" fmla="*/ 1565 w 2104"/>
                <a:gd name="T33" fmla="*/ 24 h 1521"/>
                <a:gd name="T34" fmla="*/ 556 w 2104"/>
                <a:gd name="T35" fmla="*/ 485 h 1521"/>
                <a:gd name="T36" fmla="*/ 468 w 2104"/>
                <a:gd name="T37" fmla="*/ 41 h 1521"/>
                <a:gd name="T38" fmla="*/ 388 w 2104"/>
                <a:gd name="T39" fmla="*/ 106 h 1521"/>
                <a:gd name="T40" fmla="*/ 351 w 2104"/>
                <a:gd name="T41" fmla="*/ 760 h 1521"/>
                <a:gd name="T42" fmla="*/ 316 w 2104"/>
                <a:gd name="T43" fmla="*/ 70 h 1521"/>
                <a:gd name="T44" fmla="*/ 434 w 2104"/>
                <a:gd name="T45" fmla="*/ 1086 h 1521"/>
                <a:gd name="T46" fmla="*/ 885 w 2104"/>
                <a:gd name="T47" fmla="*/ 487 h 1521"/>
                <a:gd name="T48" fmla="*/ 885 w 2104"/>
                <a:gd name="T49" fmla="*/ 523 h 1521"/>
                <a:gd name="T50" fmla="*/ 568 w 2104"/>
                <a:gd name="T51" fmla="*/ 1056 h 1521"/>
                <a:gd name="T52" fmla="*/ 885 w 2104"/>
                <a:gd name="T53" fmla="*/ 559 h 1521"/>
                <a:gd name="T54" fmla="*/ 1089 w 2104"/>
                <a:gd name="T55" fmla="*/ 534 h 1521"/>
                <a:gd name="T56" fmla="*/ 1299 w 2104"/>
                <a:gd name="T57" fmla="*/ 996 h 1521"/>
                <a:gd name="T58" fmla="*/ 672 w 2104"/>
                <a:gd name="T59" fmla="*/ 1250 h 1521"/>
                <a:gd name="T60" fmla="*/ 894 w 2104"/>
                <a:gd name="T61" fmla="*/ 1377 h 1521"/>
                <a:gd name="T62" fmla="*/ 895 w 2104"/>
                <a:gd name="T63" fmla="*/ 1413 h 1521"/>
                <a:gd name="T64" fmla="*/ 619 w 2104"/>
                <a:gd name="T65" fmla="*/ 1361 h 1521"/>
                <a:gd name="T66" fmla="*/ 1382 w 2104"/>
                <a:gd name="T67" fmla="*/ 1152 h 1521"/>
                <a:gd name="T68" fmla="*/ 509 w 2104"/>
                <a:gd name="T69" fmla="*/ 1325 h 1521"/>
                <a:gd name="T70" fmla="*/ 1416 w 2104"/>
                <a:gd name="T71" fmla="*/ 1162 h 1521"/>
                <a:gd name="T72" fmla="*/ 2062 w 2104"/>
                <a:gd name="T73" fmla="*/ 711 h 1521"/>
                <a:gd name="T74" fmla="*/ 386 w 2104"/>
                <a:gd name="T75" fmla="*/ 950 h 1521"/>
                <a:gd name="T76" fmla="*/ 351 w 2104"/>
                <a:gd name="T77" fmla="*/ 968 h 1521"/>
                <a:gd name="T78" fmla="*/ 885 w 2104"/>
                <a:gd name="T79" fmla="*/ 415 h 1521"/>
                <a:gd name="T80" fmla="*/ 1162 w 2104"/>
                <a:gd name="T81" fmla="*/ 535 h 1521"/>
                <a:gd name="T82" fmla="*/ 1420 w 2104"/>
                <a:gd name="T83" fmla="*/ 978 h 1521"/>
                <a:gd name="T84" fmla="*/ 1162 w 2104"/>
                <a:gd name="T85" fmla="*/ 535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4" h="1521">
                  <a:moveTo>
                    <a:pt x="268" y="12"/>
                  </a:moveTo>
                  <a:cubicBezTo>
                    <a:pt x="259" y="12"/>
                    <a:pt x="252" y="20"/>
                    <a:pt x="246" y="26"/>
                  </a:cubicBezTo>
                  <a:cubicBezTo>
                    <a:pt x="0" y="293"/>
                    <a:pt x="0" y="293"/>
                    <a:pt x="0" y="293"/>
                  </a:cubicBezTo>
                  <a:cubicBezTo>
                    <a:pt x="4" y="303"/>
                    <a:pt x="25" y="320"/>
                    <a:pt x="51" y="291"/>
                  </a:cubicBezTo>
                  <a:cubicBezTo>
                    <a:pt x="66" y="276"/>
                    <a:pt x="243" y="80"/>
                    <a:pt x="243" y="80"/>
                  </a:cubicBezTo>
                  <a:cubicBezTo>
                    <a:pt x="243" y="139"/>
                    <a:pt x="243" y="139"/>
                    <a:pt x="243" y="139"/>
                  </a:cubicBezTo>
                  <a:cubicBezTo>
                    <a:pt x="227" y="157"/>
                    <a:pt x="76" y="322"/>
                    <a:pt x="60" y="338"/>
                  </a:cubicBezTo>
                  <a:cubicBezTo>
                    <a:pt x="38" y="360"/>
                    <a:pt x="46" y="383"/>
                    <a:pt x="59" y="392"/>
                  </a:cubicBezTo>
                  <a:cubicBezTo>
                    <a:pt x="243" y="191"/>
                    <a:pt x="243" y="191"/>
                    <a:pt x="243" y="191"/>
                  </a:cubicBezTo>
                  <a:cubicBezTo>
                    <a:pt x="243" y="983"/>
                    <a:pt x="243" y="983"/>
                    <a:pt x="243" y="983"/>
                  </a:cubicBezTo>
                  <a:cubicBezTo>
                    <a:pt x="243" y="1029"/>
                    <a:pt x="228" y="1059"/>
                    <a:pt x="200" y="1059"/>
                  </a:cubicBezTo>
                  <a:cubicBezTo>
                    <a:pt x="187" y="1059"/>
                    <a:pt x="181" y="1057"/>
                    <a:pt x="176" y="1056"/>
                  </a:cubicBezTo>
                  <a:cubicBezTo>
                    <a:pt x="170" y="1070"/>
                    <a:pt x="180" y="1090"/>
                    <a:pt x="208" y="1090"/>
                  </a:cubicBezTo>
                  <a:cubicBezTo>
                    <a:pt x="268" y="1090"/>
                    <a:pt x="279" y="1027"/>
                    <a:pt x="279" y="983"/>
                  </a:cubicBezTo>
                  <a:cubicBezTo>
                    <a:pt x="279" y="25"/>
                    <a:pt x="279" y="25"/>
                    <a:pt x="279" y="25"/>
                  </a:cubicBezTo>
                  <a:cubicBezTo>
                    <a:pt x="279" y="18"/>
                    <a:pt x="275" y="12"/>
                    <a:pt x="268" y="12"/>
                  </a:cubicBezTo>
                  <a:close/>
                  <a:moveTo>
                    <a:pt x="2062" y="711"/>
                  </a:moveTo>
                  <a:cubicBezTo>
                    <a:pt x="2072" y="820"/>
                    <a:pt x="1941" y="1144"/>
                    <a:pt x="1557" y="1144"/>
                  </a:cubicBezTo>
                  <a:cubicBezTo>
                    <a:pt x="1472" y="1144"/>
                    <a:pt x="1403" y="1124"/>
                    <a:pt x="1361" y="1105"/>
                  </a:cubicBezTo>
                  <a:cubicBezTo>
                    <a:pt x="1364" y="1094"/>
                    <a:pt x="1367" y="1083"/>
                    <a:pt x="1370" y="1072"/>
                  </a:cubicBezTo>
                  <a:cubicBezTo>
                    <a:pt x="1423" y="1094"/>
                    <a:pt x="1482" y="1108"/>
                    <a:pt x="1557" y="1108"/>
                  </a:cubicBezTo>
                  <a:cubicBezTo>
                    <a:pt x="1871" y="1108"/>
                    <a:pt x="1988" y="879"/>
                    <a:pt x="2010" y="795"/>
                  </a:cubicBezTo>
                  <a:cubicBezTo>
                    <a:pt x="2025" y="742"/>
                    <a:pt x="2018" y="711"/>
                    <a:pt x="1981" y="711"/>
                  </a:cubicBezTo>
                  <a:cubicBezTo>
                    <a:pt x="1994" y="785"/>
                    <a:pt x="1899" y="1072"/>
                    <a:pt x="1557" y="1072"/>
                  </a:cubicBezTo>
                  <a:cubicBezTo>
                    <a:pt x="1490" y="1072"/>
                    <a:pt x="1431" y="1059"/>
                    <a:pt x="1377" y="1037"/>
                  </a:cubicBezTo>
                  <a:cubicBezTo>
                    <a:pt x="1379" y="1026"/>
                    <a:pt x="1380" y="1014"/>
                    <a:pt x="1382" y="1003"/>
                  </a:cubicBezTo>
                  <a:cubicBezTo>
                    <a:pt x="1420" y="1018"/>
                    <a:pt x="1479" y="1035"/>
                    <a:pt x="1557" y="1035"/>
                  </a:cubicBezTo>
                  <a:cubicBezTo>
                    <a:pt x="1794" y="1035"/>
                    <a:pt x="1908" y="877"/>
                    <a:pt x="1932" y="781"/>
                  </a:cubicBezTo>
                  <a:cubicBezTo>
                    <a:pt x="1943" y="739"/>
                    <a:pt x="1936" y="711"/>
                    <a:pt x="1902" y="711"/>
                  </a:cubicBezTo>
                  <a:cubicBezTo>
                    <a:pt x="1910" y="784"/>
                    <a:pt x="1826" y="1000"/>
                    <a:pt x="1557" y="1000"/>
                  </a:cubicBezTo>
                  <a:cubicBezTo>
                    <a:pt x="1519" y="1000"/>
                    <a:pt x="1484" y="995"/>
                    <a:pt x="1455" y="988"/>
                  </a:cubicBezTo>
                  <a:cubicBezTo>
                    <a:pt x="1456" y="975"/>
                    <a:pt x="1456" y="960"/>
                    <a:pt x="1456" y="950"/>
                  </a:cubicBezTo>
                  <a:cubicBezTo>
                    <a:pt x="1456" y="749"/>
                    <a:pt x="1351" y="567"/>
                    <a:pt x="1186" y="465"/>
                  </a:cubicBezTo>
                  <a:cubicBezTo>
                    <a:pt x="1249" y="318"/>
                    <a:pt x="1390" y="204"/>
                    <a:pt x="1565" y="204"/>
                  </a:cubicBezTo>
                  <a:cubicBezTo>
                    <a:pt x="1787" y="204"/>
                    <a:pt x="1886" y="374"/>
                    <a:pt x="1896" y="426"/>
                  </a:cubicBezTo>
                  <a:cubicBezTo>
                    <a:pt x="1919" y="426"/>
                    <a:pt x="1925" y="395"/>
                    <a:pt x="1915" y="372"/>
                  </a:cubicBezTo>
                  <a:cubicBezTo>
                    <a:pt x="1892" y="314"/>
                    <a:pt x="1782" y="169"/>
                    <a:pt x="1565" y="169"/>
                  </a:cubicBezTo>
                  <a:cubicBezTo>
                    <a:pt x="1348" y="169"/>
                    <a:pt x="1187" y="321"/>
                    <a:pt x="1131" y="516"/>
                  </a:cubicBezTo>
                  <a:cubicBezTo>
                    <a:pt x="1121" y="510"/>
                    <a:pt x="1110" y="504"/>
                    <a:pt x="1099" y="499"/>
                  </a:cubicBezTo>
                  <a:cubicBezTo>
                    <a:pt x="1107" y="476"/>
                    <a:pt x="1114" y="453"/>
                    <a:pt x="1122" y="434"/>
                  </a:cubicBezTo>
                  <a:cubicBezTo>
                    <a:pt x="1192" y="257"/>
                    <a:pt x="1361" y="132"/>
                    <a:pt x="1565" y="132"/>
                  </a:cubicBezTo>
                  <a:cubicBezTo>
                    <a:pt x="1836" y="132"/>
                    <a:pt x="1966" y="343"/>
                    <a:pt x="1977" y="426"/>
                  </a:cubicBezTo>
                  <a:cubicBezTo>
                    <a:pt x="1997" y="426"/>
                    <a:pt x="2012" y="403"/>
                    <a:pt x="2003" y="378"/>
                  </a:cubicBezTo>
                  <a:cubicBezTo>
                    <a:pt x="1975" y="301"/>
                    <a:pt x="1856" y="96"/>
                    <a:pt x="1565" y="96"/>
                  </a:cubicBezTo>
                  <a:cubicBezTo>
                    <a:pt x="1346" y="96"/>
                    <a:pt x="1164" y="231"/>
                    <a:pt x="1089" y="421"/>
                  </a:cubicBezTo>
                  <a:cubicBezTo>
                    <a:pt x="1082" y="437"/>
                    <a:pt x="1074" y="460"/>
                    <a:pt x="1066" y="485"/>
                  </a:cubicBezTo>
                  <a:cubicBezTo>
                    <a:pt x="1056" y="481"/>
                    <a:pt x="1046" y="477"/>
                    <a:pt x="1036" y="474"/>
                  </a:cubicBezTo>
                  <a:cubicBezTo>
                    <a:pt x="1086" y="263"/>
                    <a:pt x="1283" y="60"/>
                    <a:pt x="1565" y="60"/>
                  </a:cubicBezTo>
                  <a:cubicBezTo>
                    <a:pt x="1936" y="60"/>
                    <a:pt x="2057" y="372"/>
                    <a:pt x="2058" y="426"/>
                  </a:cubicBezTo>
                  <a:cubicBezTo>
                    <a:pt x="2084" y="426"/>
                    <a:pt x="2093" y="398"/>
                    <a:pt x="2085" y="372"/>
                  </a:cubicBezTo>
                  <a:cubicBezTo>
                    <a:pt x="2058" y="289"/>
                    <a:pt x="1922" y="24"/>
                    <a:pt x="1565" y="24"/>
                  </a:cubicBezTo>
                  <a:cubicBezTo>
                    <a:pt x="1298" y="24"/>
                    <a:pt x="1105" y="187"/>
                    <a:pt x="1024" y="396"/>
                  </a:cubicBezTo>
                  <a:cubicBezTo>
                    <a:pt x="979" y="385"/>
                    <a:pt x="932" y="379"/>
                    <a:pt x="885" y="379"/>
                  </a:cubicBezTo>
                  <a:cubicBezTo>
                    <a:pt x="766" y="379"/>
                    <a:pt x="653" y="416"/>
                    <a:pt x="556" y="485"/>
                  </a:cubicBezTo>
                  <a:cubicBezTo>
                    <a:pt x="505" y="522"/>
                    <a:pt x="460" y="566"/>
                    <a:pt x="424" y="616"/>
                  </a:cubicBezTo>
                  <a:cubicBezTo>
                    <a:pt x="424" y="106"/>
                    <a:pt x="424" y="106"/>
                    <a:pt x="424" y="106"/>
                  </a:cubicBezTo>
                  <a:cubicBezTo>
                    <a:pt x="424" y="60"/>
                    <a:pt x="439" y="41"/>
                    <a:pt x="468" y="41"/>
                  </a:cubicBezTo>
                  <a:cubicBezTo>
                    <a:pt x="480" y="41"/>
                    <a:pt x="486" y="43"/>
                    <a:pt x="491" y="44"/>
                  </a:cubicBezTo>
                  <a:cubicBezTo>
                    <a:pt x="497" y="30"/>
                    <a:pt x="487" y="10"/>
                    <a:pt x="459" y="10"/>
                  </a:cubicBezTo>
                  <a:cubicBezTo>
                    <a:pt x="399" y="10"/>
                    <a:pt x="388" y="62"/>
                    <a:pt x="388" y="106"/>
                  </a:cubicBezTo>
                  <a:cubicBezTo>
                    <a:pt x="388" y="106"/>
                    <a:pt x="388" y="518"/>
                    <a:pt x="388" y="672"/>
                  </a:cubicBezTo>
                  <a:cubicBezTo>
                    <a:pt x="388" y="673"/>
                    <a:pt x="387" y="674"/>
                    <a:pt x="387" y="675"/>
                  </a:cubicBezTo>
                  <a:cubicBezTo>
                    <a:pt x="377" y="692"/>
                    <a:pt x="362" y="729"/>
                    <a:pt x="351" y="760"/>
                  </a:cubicBezTo>
                  <a:cubicBezTo>
                    <a:pt x="351" y="84"/>
                    <a:pt x="351" y="84"/>
                    <a:pt x="351" y="84"/>
                  </a:cubicBezTo>
                  <a:cubicBezTo>
                    <a:pt x="351" y="41"/>
                    <a:pt x="361" y="26"/>
                    <a:pt x="369" y="19"/>
                  </a:cubicBezTo>
                  <a:cubicBezTo>
                    <a:pt x="365" y="5"/>
                    <a:pt x="316" y="0"/>
                    <a:pt x="316" y="70"/>
                  </a:cubicBezTo>
                  <a:cubicBezTo>
                    <a:pt x="316" y="103"/>
                    <a:pt x="316" y="984"/>
                    <a:pt x="316" y="984"/>
                  </a:cubicBezTo>
                  <a:cubicBezTo>
                    <a:pt x="316" y="1060"/>
                    <a:pt x="351" y="1091"/>
                    <a:pt x="389" y="1091"/>
                  </a:cubicBezTo>
                  <a:cubicBezTo>
                    <a:pt x="405" y="1091"/>
                    <a:pt x="422" y="1088"/>
                    <a:pt x="434" y="1086"/>
                  </a:cubicBezTo>
                  <a:cubicBezTo>
                    <a:pt x="440" y="1084"/>
                    <a:pt x="444" y="1077"/>
                    <a:pt x="442" y="1071"/>
                  </a:cubicBezTo>
                  <a:cubicBezTo>
                    <a:pt x="430" y="1040"/>
                    <a:pt x="422" y="998"/>
                    <a:pt x="422" y="950"/>
                  </a:cubicBezTo>
                  <a:cubicBezTo>
                    <a:pt x="422" y="694"/>
                    <a:pt x="630" y="487"/>
                    <a:pt x="885" y="487"/>
                  </a:cubicBezTo>
                  <a:cubicBezTo>
                    <a:pt x="946" y="487"/>
                    <a:pt x="1003" y="498"/>
                    <a:pt x="1057" y="519"/>
                  </a:cubicBezTo>
                  <a:cubicBezTo>
                    <a:pt x="1053" y="530"/>
                    <a:pt x="1051" y="542"/>
                    <a:pt x="1048" y="553"/>
                  </a:cubicBezTo>
                  <a:cubicBezTo>
                    <a:pt x="1008" y="537"/>
                    <a:pt x="955" y="523"/>
                    <a:pt x="885" y="523"/>
                  </a:cubicBezTo>
                  <a:cubicBezTo>
                    <a:pt x="650" y="523"/>
                    <a:pt x="458" y="715"/>
                    <a:pt x="458" y="950"/>
                  </a:cubicBezTo>
                  <a:cubicBezTo>
                    <a:pt x="458" y="1011"/>
                    <a:pt x="475" y="1090"/>
                    <a:pt x="535" y="1090"/>
                  </a:cubicBezTo>
                  <a:cubicBezTo>
                    <a:pt x="564" y="1090"/>
                    <a:pt x="574" y="1070"/>
                    <a:pt x="568" y="1056"/>
                  </a:cubicBezTo>
                  <a:cubicBezTo>
                    <a:pt x="562" y="1057"/>
                    <a:pt x="556" y="1059"/>
                    <a:pt x="544" y="1059"/>
                  </a:cubicBezTo>
                  <a:cubicBezTo>
                    <a:pt x="516" y="1059"/>
                    <a:pt x="494" y="1021"/>
                    <a:pt x="494" y="950"/>
                  </a:cubicBezTo>
                  <a:cubicBezTo>
                    <a:pt x="494" y="734"/>
                    <a:pt x="669" y="559"/>
                    <a:pt x="885" y="559"/>
                  </a:cubicBezTo>
                  <a:cubicBezTo>
                    <a:pt x="959" y="559"/>
                    <a:pt x="1016" y="577"/>
                    <a:pt x="1056" y="597"/>
                  </a:cubicBezTo>
                  <a:cubicBezTo>
                    <a:pt x="1065" y="601"/>
                    <a:pt x="1075" y="595"/>
                    <a:pt x="1077" y="585"/>
                  </a:cubicBezTo>
                  <a:cubicBezTo>
                    <a:pt x="1079" y="571"/>
                    <a:pt x="1084" y="553"/>
                    <a:pt x="1089" y="534"/>
                  </a:cubicBezTo>
                  <a:cubicBezTo>
                    <a:pt x="1243" y="609"/>
                    <a:pt x="1349" y="768"/>
                    <a:pt x="1349" y="950"/>
                  </a:cubicBezTo>
                  <a:cubicBezTo>
                    <a:pt x="1349" y="974"/>
                    <a:pt x="1347" y="998"/>
                    <a:pt x="1343" y="1021"/>
                  </a:cubicBezTo>
                  <a:cubicBezTo>
                    <a:pt x="1328" y="1014"/>
                    <a:pt x="1314" y="1005"/>
                    <a:pt x="1299" y="996"/>
                  </a:cubicBezTo>
                  <a:cubicBezTo>
                    <a:pt x="1283" y="987"/>
                    <a:pt x="1274" y="994"/>
                    <a:pt x="1272" y="1009"/>
                  </a:cubicBezTo>
                  <a:cubicBezTo>
                    <a:pt x="1244" y="1200"/>
                    <a:pt x="1086" y="1341"/>
                    <a:pt x="894" y="1341"/>
                  </a:cubicBezTo>
                  <a:cubicBezTo>
                    <a:pt x="763" y="1341"/>
                    <a:pt x="691" y="1290"/>
                    <a:pt x="672" y="1250"/>
                  </a:cubicBezTo>
                  <a:cubicBezTo>
                    <a:pt x="662" y="1253"/>
                    <a:pt x="654" y="1262"/>
                    <a:pt x="654" y="1276"/>
                  </a:cubicBezTo>
                  <a:cubicBezTo>
                    <a:pt x="654" y="1300"/>
                    <a:pt x="694" y="1327"/>
                    <a:pt x="721" y="1340"/>
                  </a:cubicBezTo>
                  <a:cubicBezTo>
                    <a:pt x="761" y="1360"/>
                    <a:pt x="815" y="1377"/>
                    <a:pt x="894" y="1377"/>
                  </a:cubicBezTo>
                  <a:cubicBezTo>
                    <a:pt x="1095" y="1377"/>
                    <a:pt x="1261" y="1235"/>
                    <a:pt x="1303" y="1040"/>
                  </a:cubicBezTo>
                  <a:cubicBezTo>
                    <a:pt x="1314" y="1046"/>
                    <a:pt x="1325" y="1052"/>
                    <a:pt x="1337" y="1058"/>
                  </a:cubicBezTo>
                  <a:cubicBezTo>
                    <a:pt x="1290" y="1261"/>
                    <a:pt x="1113" y="1413"/>
                    <a:pt x="895" y="1413"/>
                  </a:cubicBezTo>
                  <a:cubicBezTo>
                    <a:pt x="713" y="1413"/>
                    <a:pt x="621" y="1325"/>
                    <a:pt x="616" y="1296"/>
                  </a:cubicBezTo>
                  <a:cubicBezTo>
                    <a:pt x="602" y="1296"/>
                    <a:pt x="594" y="1307"/>
                    <a:pt x="594" y="1320"/>
                  </a:cubicBezTo>
                  <a:cubicBezTo>
                    <a:pt x="594" y="1335"/>
                    <a:pt x="606" y="1350"/>
                    <a:pt x="619" y="1361"/>
                  </a:cubicBezTo>
                  <a:cubicBezTo>
                    <a:pt x="653" y="1392"/>
                    <a:pt x="738" y="1449"/>
                    <a:pt x="895" y="1449"/>
                  </a:cubicBezTo>
                  <a:cubicBezTo>
                    <a:pt x="1103" y="1449"/>
                    <a:pt x="1277" y="1320"/>
                    <a:pt x="1349" y="1138"/>
                  </a:cubicBezTo>
                  <a:cubicBezTo>
                    <a:pt x="1359" y="1143"/>
                    <a:pt x="1371" y="1147"/>
                    <a:pt x="1382" y="1152"/>
                  </a:cubicBezTo>
                  <a:cubicBezTo>
                    <a:pt x="1304" y="1348"/>
                    <a:pt x="1116" y="1485"/>
                    <a:pt x="894" y="1485"/>
                  </a:cubicBezTo>
                  <a:cubicBezTo>
                    <a:pt x="688" y="1485"/>
                    <a:pt x="549" y="1379"/>
                    <a:pt x="534" y="1297"/>
                  </a:cubicBezTo>
                  <a:cubicBezTo>
                    <a:pt x="522" y="1297"/>
                    <a:pt x="509" y="1308"/>
                    <a:pt x="509" y="1325"/>
                  </a:cubicBezTo>
                  <a:cubicBezTo>
                    <a:pt x="509" y="1338"/>
                    <a:pt x="520" y="1357"/>
                    <a:pt x="523" y="1362"/>
                  </a:cubicBezTo>
                  <a:cubicBezTo>
                    <a:pt x="554" y="1410"/>
                    <a:pt x="665" y="1521"/>
                    <a:pt x="894" y="1521"/>
                  </a:cubicBezTo>
                  <a:cubicBezTo>
                    <a:pt x="1132" y="1521"/>
                    <a:pt x="1334" y="1373"/>
                    <a:pt x="1416" y="1162"/>
                  </a:cubicBezTo>
                  <a:cubicBezTo>
                    <a:pt x="1455" y="1173"/>
                    <a:pt x="1501" y="1179"/>
                    <a:pt x="1557" y="1179"/>
                  </a:cubicBezTo>
                  <a:cubicBezTo>
                    <a:pt x="1928" y="1179"/>
                    <a:pt x="2065" y="901"/>
                    <a:pt x="2089" y="800"/>
                  </a:cubicBezTo>
                  <a:cubicBezTo>
                    <a:pt x="2104" y="734"/>
                    <a:pt x="2096" y="711"/>
                    <a:pt x="2062" y="711"/>
                  </a:cubicBezTo>
                  <a:close/>
                  <a:moveTo>
                    <a:pt x="1002" y="465"/>
                  </a:moveTo>
                  <a:cubicBezTo>
                    <a:pt x="964" y="456"/>
                    <a:pt x="925" y="451"/>
                    <a:pt x="885" y="451"/>
                  </a:cubicBezTo>
                  <a:cubicBezTo>
                    <a:pt x="610" y="451"/>
                    <a:pt x="386" y="675"/>
                    <a:pt x="386" y="950"/>
                  </a:cubicBezTo>
                  <a:cubicBezTo>
                    <a:pt x="386" y="982"/>
                    <a:pt x="388" y="1021"/>
                    <a:pt x="400" y="1055"/>
                  </a:cubicBezTo>
                  <a:cubicBezTo>
                    <a:pt x="364" y="1065"/>
                    <a:pt x="351" y="1028"/>
                    <a:pt x="351" y="984"/>
                  </a:cubicBezTo>
                  <a:cubicBezTo>
                    <a:pt x="351" y="984"/>
                    <a:pt x="351" y="979"/>
                    <a:pt x="351" y="968"/>
                  </a:cubicBezTo>
                  <a:cubicBezTo>
                    <a:pt x="354" y="837"/>
                    <a:pt x="385" y="763"/>
                    <a:pt x="385" y="763"/>
                  </a:cubicBezTo>
                  <a:cubicBezTo>
                    <a:pt x="422" y="661"/>
                    <a:pt x="490" y="577"/>
                    <a:pt x="577" y="514"/>
                  </a:cubicBezTo>
                  <a:cubicBezTo>
                    <a:pt x="667" y="449"/>
                    <a:pt x="774" y="415"/>
                    <a:pt x="885" y="415"/>
                  </a:cubicBezTo>
                  <a:cubicBezTo>
                    <a:pt x="928" y="415"/>
                    <a:pt x="971" y="420"/>
                    <a:pt x="1012" y="430"/>
                  </a:cubicBezTo>
                  <a:cubicBezTo>
                    <a:pt x="1008" y="441"/>
                    <a:pt x="1005" y="453"/>
                    <a:pt x="1002" y="465"/>
                  </a:cubicBezTo>
                  <a:close/>
                  <a:moveTo>
                    <a:pt x="1162" y="535"/>
                  </a:moveTo>
                  <a:cubicBezTo>
                    <a:pt x="1166" y="523"/>
                    <a:pt x="1169" y="511"/>
                    <a:pt x="1173" y="499"/>
                  </a:cubicBezTo>
                  <a:cubicBezTo>
                    <a:pt x="1324" y="595"/>
                    <a:pt x="1421" y="764"/>
                    <a:pt x="1421" y="950"/>
                  </a:cubicBezTo>
                  <a:cubicBezTo>
                    <a:pt x="1421" y="959"/>
                    <a:pt x="1420" y="968"/>
                    <a:pt x="1420" y="978"/>
                  </a:cubicBezTo>
                  <a:cubicBezTo>
                    <a:pt x="1406" y="973"/>
                    <a:pt x="1394" y="969"/>
                    <a:pt x="1384" y="964"/>
                  </a:cubicBezTo>
                  <a:cubicBezTo>
                    <a:pt x="1384" y="960"/>
                    <a:pt x="1384" y="955"/>
                    <a:pt x="1384" y="950"/>
                  </a:cubicBezTo>
                  <a:cubicBezTo>
                    <a:pt x="1384" y="777"/>
                    <a:pt x="1296" y="625"/>
                    <a:pt x="1162" y="5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8_Final_legal_tex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0" y="-1"/>
            <a:ext cx="12198349" cy="6861931"/>
          </a:xfrm>
          <a:prstGeom prst="rect">
            <a:avLst/>
          </a:prstGeom>
        </p:spPr>
      </p:pic>
      <p:sp>
        <p:nvSpPr>
          <p:cNvPr id="6" name="Textplatzhalter 2"/>
          <p:cNvSpPr>
            <a:spLocks noGrp="1"/>
          </p:cNvSpPr>
          <p:nvPr>
            <p:ph type="body" sz="quarter" idx="10" hasCustomPrompt="1"/>
          </p:nvPr>
        </p:nvSpPr>
        <p:spPr bwMode="gray">
          <a:xfrm>
            <a:off x="628566" y="292413"/>
            <a:ext cx="3142800" cy="5210175"/>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rgbClr val="FFD200"/>
              </a:buClr>
              <a:buSzPct val="70000"/>
              <a:buFontTx/>
              <a:buNone/>
              <a:tabLst/>
              <a:defRPr kumimoji="0" lang="de-DE" sz="1100"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000" b="1" i="0" u="none" strike="noStrike" kern="0" cap="none" spc="0" normalizeH="0" baseline="0" noProof="0" dirty="0">
                <a:ln>
                  <a:noFill/>
                </a:ln>
                <a:solidFill>
                  <a:prstClr val="white"/>
                </a:solidFill>
                <a:effectLst/>
                <a:uLnTx/>
                <a:uFillTx/>
                <a:latin typeface="+mn-lt"/>
                <a:ea typeface="+mn-ea"/>
                <a:cs typeface="+mn-cs"/>
              </a:rPr>
              <a:t>EY </a:t>
            </a:r>
            <a:r>
              <a:rPr kumimoji="0" lang="en-US" sz="1000" b="0" i="0" u="none" strike="noStrike" kern="0" cap="none" spc="0" normalizeH="0" baseline="0" noProof="0" dirty="0">
                <a:ln>
                  <a:noFill/>
                </a:ln>
                <a:solidFill>
                  <a:prstClr val="white"/>
                </a:solidFill>
                <a:effectLst/>
                <a:uLnTx/>
                <a:uFillTx/>
                <a:latin typeface="+mn-lt"/>
                <a:ea typeface="+mn-ea"/>
                <a:cs typeface="+mn-cs"/>
              </a:rPr>
              <a:t> </a:t>
            </a:r>
            <a:r>
              <a:rPr kumimoji="0" lang="en-US" sz="1000" b="0" i="0" u="none" strike="noStrike" kern="0" cap="none" spc="0" normalizeH="0" baseline="0" noProof="0" dirty="0">
                <a:ln>
                  <a:noFill/>
                </a:ln>
                <a:solidFill>
                  <a:prstClr val="white"/>
                </a:solidFill>
                <a:effectLst/>
                <a:uLnTx/>
                <a:uFillTx/>
                <a:latin typeface="+mn-lt"/>
                <a:ea typeface="+mn-ea"/>
                <a:cs typeface="Arial"/>
              </a:rPr>
              <a:t>|  Assurance | Tax | Transactions | Advisory </a:t>
            </a:r>
            <a:br>
              <a:rPr kumimoji="0" lang="en-US" sz="1000" b="0" i="0" u="none" strike="noStrike" kern="0" cap="none" spc="0" normalizeH="0" baseline="0" noProof="0" dirty="0">
                <a:ln>
                  <a:noFill/>
                </a:ln>
                <a:solidFill>
                  <a:prstClr val="white"/>
                </a:solidFill>
                <a:effectLst/>
                <a:uLnTx/>
                <a:uFillTx/>
                <a:latin typeface="+mn-lt"/>
                <a:ea typeface="+mn-ea"/>
                <a:cs typeface="Arial"/>
              </a:rPr>
            </a:br>
            <a:br>
              <a:rPr kumimoji="0" lang="en-US" sz="1000" b="0" i="0" u="none" strike="noStrike" kern="0" cap="none" spc="0" normalizeH="0" baseline="0" noProof="0" dirty="0">
                <a:ln>
                  <a:noFill/>
                </a:ln>
                <a:solidFill>
                  <a:prstClr val="white"/>
                </a:solidFill>
                <a:effectLst/>
                <a:uLnTx/>
                <a:uFillTx/>
                <a:latin typeface="+mn-lt"/>
                <a:ea typeface="+mn-ea"/>
                <a:cs typeface="Arial"/>
              </a:rPr>
            </a:br>
            <a:r>
              <a:rPr kumimoji="0" lang="en-US" sz="1000" b="0" i="0" u="none" strike="noStrike" kern="0" cap="none" spc="0" normalizeH="0" baseline="0" noProof="0" dirty="0">
                <a:ln>
                  <a:noFill/>
                </a:ln>
                <a:solidFill>
                  <a:prstClr val="white"/>
                </a:solidFill>
                <a:effectLst/>
                <a:uLnTx/>
                <a:uFillTx/>
                <a:latin typeface="+mn-lt"/>
                <a:ea typeface="+mn-ea"/>
                <a:cs typeface="Arial"/>
              </a:rPr>
              <a:t>Refer to The Branding Zone for the latest boilerplate language. </a:t>
            </a: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endParaRPr lang="de-DE" dirty="0"/>
          </a:p>
        </p:txBody>
      </p:sp>
    </p:spTree>
    <p:extLst>
      <p:ext uri="{BB962C8B-B14F-4D97-AF65-F5344CB8AC3E}">
        <p14:creationId xmlns:p14="http://schemas.microsoft.com/office/powerpoint/2010/main" val="1282227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917" y="1137920"/>
            <a:ext cx="4957505" cy="4267457"/>
          </a:xfrm>
          <a:prstGeom prst="rect">
            <a:avLst/>
          </a:prstGeom>
        </p:spPr>
        <p:txBody>
          <a:bodyPr>
            <a:noAutofit/>
          </a:bodyPr>
          <a:lstStyle>
            <a:lvl1pPr marL="0" indent="0">
              <a:buNone/>
              <a:defRPr/>
            </a:lvl1pPr>
          </a:lstStyle>
          <a:p>
            <a:r>
              <a:rPr lang="en-US" noProof="0" dirty="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a:prstGeom prst="rect">
            <a:avLst/>
          </a:prstGeom>
        </p:spPr>
        <p:txBody>
          <a:bodyPr>
            <a:noAutofit/>
          </a:bodyPr>
          <a:lstStyle>
            <a:lvl1pPr marL="0" indent="0">
              <a:buNone/>
              <a:defRPr sz="1200">
                <a:solidFill>
                  <a:schemeClr val="tx2"/>
                </a:solidFill>
              </a:defRPr>
            </a:lvl1pPr>
          </a:lstStyle>
          <a:p>
            <a:pPr lvl="0"/>
            <a:r>
              <a:rPr lang="en-US" noProof="0" dirty="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a:prstGeom prst="rect">
            <a:avLst/>
          </a:prstGeom>
        </p:spPr>
        <p:txBody>
          <a:bodyPr>
            <a:noAutofit/>
          </a:bodyPr>
          <a:lstStyle>
            <a:lvl1pPr marL="0" indent="0">
              <a:buNone/>
              <a:defRPr sz="1200">
                <a:solidFill>
                  <a:schemeClr val="bg1"/>
                </a:solidFill>
              </a:defRPr>
            </a:lvl1pPr>
          </a:lstStyle>
          <a:p>
            <a:pPr lvl="0"/>
            <a:r>
              <a:rPr lang="en-US" noProof="0" dirty="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noProof="0" dirty="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a:prstGeom prst="rect">
            <a:avLst/>
          </a:prstGeom>
        </p:spPr>
        <p:txBody>
          <a:bodyPr>
            <a:noAutofit/>
          </a:bodyPr>
          <a:lstStyle>
            <a:lvl1pPr marL="0" indent="0">
              <a:buNone/>
              <a:defRPr/>
            </a:lvl1pPr>
          </a:lstStyle>
          <a:p>
            <a:pPr lvl="0"/>
            <a:r>
              <a:rPr lang="en-US" noProof="0"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a:prstGeom prst="rect">
            <a:avLst/>
          </a:prstGeom>
        </p:spPr>
        <p:txBody>
          <a:bodyPr>
            <a:noAutofit/>
          </a:bodyPr>
          <a:lstStyle>
            <a:lvl1pPr marL="0" indent="0">
              <a:buNone/>
              <a:defRPr sz="1600"/>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B9C240D9-3735-49C9-A196-6B66C851109A}" type="datetime3">
              <a:rPr lang="en-US" noProof="0" smtClean="0"/>
              <a:t>14 September 2022</a:t>
            </a:fld>
            <a:endParaRPr lang="en-US" noProof="0"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28331009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6" name="Title 1"/>
          <p:cNvSpPr>
            <a:spLocks noGrp="1"/>
          </p:cNvSpPr>
          <p:nvPr>
            <p:ph type="ctrTitle" hasCustomPrompt="1"/>
          </p:nvPr>
        </p:nvSpPr>
        <p:spPr>
          <a:xfrm>
            <a:off x="900329"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7" name="Subtitle 2"/>
          <p:cNvSpPr>
            <a:spLocks noGrp="1"/>
          </p:cNvSpPr>
          <p:nvPr>
            <p:ph type="subTitle" idx="1" hasCustomPrompt="1"/>
          </p:nvPr>
        </p:nvSpPr>
        <p:spPr>
          <a:xfrm>
            <a:off x="900329" y="3046158"/>
            <a:ext cx="4328932" cy="1046323"/>
          </a:xfrm>
          <a:prstGeom prst="rect">
            <a:avLst/>
          </a:prstGeo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01887" y="440057"/>
            <a:ext cx="1880290" cy="961200"/>
          </a:xfrm>
          <a:prstGeom prst="rect">
            <a:avLst/>
          </a:prstGeom>
        </p:spPr>
      </p:pic>
    </p:spTree>
    <p:extLst>
      <p:ext uri="{BB962C8B-B14F-4D97-AF65-F5344CB8AC3E}">
        <p14:creationId xmlns:p14="http://schemas.microsoft.com/office/powerpoint/2010/main" val="4148194975"/>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917" y="1137920"/>
            <a:ext cx="4957505" cy="4267457"/>
          </a:xfrm>
          <a:prstGeom prst="rect">
            <a:avLst/>
          </a:prstGeom>
        </p:spPr>
        <p:txBody>
          <a:bodyPr/>
          <a:lstStyle>
            <a:lvl1pPr marL="0" indent="0">
              <a:buNone/>
              <a:defRPr/>
            </a:lvl1pPr>
          </a:lstStyle>
          <a:p>
            <a:r>
              <a:rPr lang="en-US" noProof="0" dirty="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a:prstGeom prst="rect">
            <a:avLst/>
          </a:prstGeom>
        </p:spPr>
        <p:txBody>
          <a:bodyPr/>
          <a:lstStyle>
            <a:lvl1pPr marL="0" indent="0">
              <a:buNone/>
              <a:defRPr sz="1200">
                <a:solidFill>
                  <a:schemeClr val="tx2"/>
                </a:solidFill>
              </a:defRPr>
            </a:lvl1pPr>
          </a:lstStyle>
          <a:p>
            <a:pPr lvl="0"/>
            <a:r>
              <a:rPr lang="en-US" noProof="0" dirty="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a:prstGeom prst="rect">
            <a:avLst/>
          </a:prstGeom>
        </p:spPr>
        <p:txBody>
          <a:bodyPr/>
          <a:lstStyle>
            <a:lvl1pPr marL="0" indent="0">
              <a:buNone/>
              <a:defRPr sz="1200">
                <a:solidFill>
                  <a:schemeClr val="bg1"/>
                </a:solidFill>
              </a:defRPr>
            </a:lvl1pPr>
          </a:lstStyle>
          <a:p>
            <a:pPr lvl="0"/>
            <a:r>
              <a:rPr lang="en-US" noProof="0" dirty="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a:prstGeom prst="rect">
            <a:avLst/>
          </a:prstGeom>
        </p:spPr>
        <p:txBody>
          <a:bodyPr/>
          <a:lstStyle>
            <a:lvl1pPr marL="0" indent="0">
              <a:buNone/>
              <a:defRPr/>
            </a:lvl1pPr>
          </a:lstStyle>
          <a:p>
            <a:pPr lvl="0"/>
            <a:r>
              <a:rPr lang="en-US" noProof="0"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a:prstGeom prst="rect">
            <a:avLst/>
          </a:prstGeom>
        </p:spPr>
        <p:txBody>
          <a:bodyPr/>
          <a:lstStyle>
            <a:lvl1pPr marL="0" indent="0">
              <a:buNone/>
              <a:defRPr sz="1600"/>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B9C240D9-3735-49C9-A196-6B66C851109A}" type="datetime3">
              <a:rPr lang="en-US" noProof="0" smtClean="0"/>
              <a:t>14 September 2022</a:t>
            </a:fld>
            <a:endParaRPr lang="en-US" noProof="0"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4154273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918" y="1137919"/>
            <a:ext cx="8238744" cy="495490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23EB5111-4321-4A8B-8136-0060A1CE4C12}" type="datetime3">
              <a:rPr lang="en-US" noProof="0" smtClean="0"/>
              <a:t>14 September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26432175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tandard_pictur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8199120" y="0"/>
            <a:ext cx="3999231"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609918" y="294200"/>
            <a:ext cx="7300800" cy="590400"/>
          </a:xfrm>
        </p:spPr>
        <p:txBody>
          <a:bodyPr/>
          <a:lstStyle>
            <a:lvl1pPr>
              <a:defRPr sz="2400">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918" y="1137921"/>
            <a:ext cx="7299642" cy="873760"/>
          </a:xfrm>
          <a:prstGeom prst="rect">
            <a:avLst/>
          </a:prstGeo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781424"/>
          </a:xfrm>
          <a:prstGeom prst="rect">
            <a:avLst/>
          </a:prstGeo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a:prstGeom prst="rect">
            <a:avLst/>
          </a:prstGeo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856104"/>
          </a:xfrm>
          <a:prstGeom prst="rect">
            <a:avLst/>
          </a:prstGeo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Quote</a:t>
            </a: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2F83285F-A85E-48D5-A1E9-9EA175F117DB}" type="datetime3">
              <a:rPr lang="en-US" noProof="0" smtClean="0"/>
              <a:t>14 September 2022</a:t>
            </a:fld>
            <a:endParaRPr lang="en-US" noProof="0"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Nr.›</a:t>
            </a:fld>
            <a:endParaRPr lang="en-US" noProof="0" dirty="0"/>
          </a:p>
        </p:txBody>
      </p:sp>
      <p:sp>
        <p:nvSpPr>
          <p:cNvPr id="1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2894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094999819"/>
      </p:ext>
    </p:extLst>
  </p:cSld>
  <p:clrMapOvr>
    <a:masterClrMapping/>
  </p:clrMapOvr>
  <p:extLst>
    <p:ext uri="{DCECCB84-F9BA-43D5-87BE-67443E8EF086}">
      <p15:sldGuideLst xmlns:p15="http://schemas.microsoft.com/office/powerpoint/2012/main">
        <p15:guide id="1" pos="5157">
          <p15:clr>
            <a:srgbClr val="FBAE40"/>
          </p15:clr>
        </p15:guide>
        <p15:guide id="2" orient="horz" pos="1457">
          <p15:clr>
            <a:srgbClr val="FBAE40"/>
          </p15:clr>
        </p15:guide>
        <p15:guide id="3" pos="4976">
          <p15:clr>
            <a:srgbClr val="FBAE40"/>
          </p15:clr>
        </p15:guide>
        <p15:guide id="4" pos="2731">
          <p15:clr>
            <a:srgbClr val="FBAE40"/>
          </p15:clr>
        </p15:guide>
        <p15:guide id="5" pos="26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Standard_picture_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0" y="0"/>
            <a:ext cx="2384460"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2695294" y="294200"/>
            <a:ext cx="8892000" cy="590400"/>
          </a:xfrm>
        </p:spPr>
        <p:txBody>
          <a:bodyPr/>
          <a:lstStyle>
            <a:lvl1pPr>
              <a:defRPr sz="2400">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2695293" y="1137921"/>
            <a:ext cx="2742882" cy="4954904"/>
          </a:xfrm>
          <a:prstGeom prst="rect">
            <a:avLst/>
          </a:prstGeo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4954904"/>
          </a:xfrm>
          <a:prstGeom prst="rect">
            <a:avLst/>
          </a:prstGeo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a:prstGeom prst="rect">
            <a:avLst/>
          </a:prstGeo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F80BBD3C-0F20-4269-B5A9-643E9AB4A672}" type="datetime3">
              <a:rPr lang="en-US" noProof="0" smtClean="0"/>
              <a:t>14 September 2022</a:t>
            </a:fld>
            <a:endParaRPr lang="en-US" noProof="0"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516124509"/>
      </p:ext>
    </p:extLst>
  </p:cSld>
  <p:clrMapOvr>
    <a:masterClrMapping/>
  </p:clrMapOvr>
  <p:extLst>
    <p:ext uri="{DCECCB84-F9BA-43D5-87BE-67443E8EF086}">
      <p15:sldGuideLst xmlns:p15="http://schemas.microsoft.com/office/powerpoint/2012/main">
        <p15:guide id="1" pos="1687">
          <p15:clr>
            <a:srgbClr val="FBAE40"/>
          </p15:clr>
        </p15:guide>
        <p15:guide id="2" pos="3434">
          <p15:clr>
            <a:srgbClr val="FBAE40"/>
          </p15:clr>
        </p15:guide>
        <p15:guide id="3" pos="3593">
          <p15:clr>
            <a:srgbClr val="FBAE40"/>
          </p15:clr>
        </p15:guide>
        <p15:guide id="4" pos="5566">
          <p15:clr>
            <a:srgbClr val="FBAE40"/>
          </p15:clr>
        </p15:guide>
        <p15:guide id="5" pos="538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Quote_left">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1200" noProof="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hasCustomPrompt="1"/>
          </p:nvPr>
        </p:nvSpPr>
        <p:spPr>
          <a:xfrm>
            <a:off x="609600" y="2526765"/>
            <a:ext cx="5292000" cy="1800000"/>
          </a:xfrm>
          <a:prstGeom prst="rect">
            <a:avLst/>
          </a:prstGeom>
        </p:spPr>
        <p:txBody>
          <a:bodyPr lIns="0" tIns="46800" rIns="90000" bIns="46800"/>
          <a:lstStyle>
            <a:lvl1pPr marL="356616" indent="-356616">
              <a:spcBef>
                <a:spcPts val="0"/>
              </a:spcBef>
              <a:buNone/>
              <a:defRPr lang="en-US" sz="2800" dirty="0" smtClean="0">
                <a:latin typeface="Georgia" panose="02040502050405020303" pitchFamily="18" charset="0"/>
              </a:defRPr>
            </a:lvl1pPr>
          </a:lstStyle>
          <a:p>
            <a:pPr marL="356616" lvl="0" indent="-356616">
              <a:spcBef>
                <a:spcPts val="0"/>
              </a:spcBef>
            </a:pPr>
            <a:r>
              <a:rPr lang="en-US" noProof="0" dirty="0"/>
              <a:t>Click to edit Master title style</a:t>
            </a:r>
            <a:endParaRPr lang="de-DE" noProof="0" dirty="0"/>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609600" y="4632765"/>
            <a:ext cx="5292000" cy="316838"/>
          </a:xfrm>
          <a:prstGeom prst="rect">
            <a:avLst/>
          </a:prstGeo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noProof="0"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609600" y="4971442"/>
            <a:ext cx="5292000" cy="316838"/>
          </a:xfrm>
          <a:prstGeom prst="rect">
            <a:avLst/>
          </a:prstGeo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noProof="0" dirty="0"/>
              <a:t>Job Title</a:t>
            </a:r>
          </a:p>
        </p:txBody>
      </p:sp>
    </p:spTree>
    <p:extLst>
      <p:ext uri="{BB962C8B-B14F-4D97-AF65-F5344CB8AC3E}">
        <p14:creationId xmlns:p14="http://schemas.microsoft.com/office/powerpoint/2010/main" val="42362214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Quote_centered">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hasCustomPrompt="1"/>
          </p:nvPr>
        </p:nvSpPr>
        <p:spPr>
          <a:xfrm>
            <a:off x="2282751" y="2060235"/>
            <a:ext cx="7632848" cy="3025522"/>
          </a:xfrm>
          <a:prstGeom prst="rect">
            <a:avLst/>
          </a:prstGeom>
        </p:spPr>
        <p:txBody>
          <a:bodyPr lIns="0" tIns="0" rIns="0" bIns="0">
            <a:noAutofit/>
          </a:bodyPr>
          <a:lstStyle>
            <a:lvl1pPr marL="356616" indent="-356616" algn="ctr">
              <a:spcBef>
                <a:spcPts val="0"/>
              </a:spcBef>
              <a:spcAft>
                <a:spcPts val="0"/>
              </a:spcAft>
              <a:buNone/>
              <a:defRPr lang="en-US" sz="2800" dirty="0" smtClean="0">
                <a:latin typeface="Georgia" panose="02040502050405020303" pitchFamily="18" charset="0"/>
              </a:defRPr>
            </a:lvl1pPr>
          </a:lstStyle>
          <a:p>
            <a:pPr marL="356616" lvl="0" indent="-356616" algn="ctr">
              <a:spcBef>
                <a:spcPts val="0"/>
              </a:spcBef>
            </a:pPr>
            <a:r>
              <a:rPr lang="en-US" noProof="0" dirty="0"/>
              <a:t>Click to edit Master title style</a:t>
            </a:r>
            <a:endParaRPr lang="de-DE" noProof="0" dirty="0"/>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282751" y="5445367"/>
            <a:ext cx="7632848" cy="316838"/>
          </a:xfrm>
          <a:prstGeom prst="rect">
            <a:avLst/>
          </a:prstGeom>
        </p:spPr>
        <p:txBody>
          <a:bodyPr lIns="0" tIns="0" rIns="0" bIns="0">
            <a:noAutofit/>
          </a:bodyPr>
          <a:lstStyle>
            <a:lvl1pPr marL="0" indent="0" algn="ctr">
              <a:spcAft>
                <a:spcPts val="0"/>
              </a:spcAft>
              <a:buNone/>
              <a:defRPr lang="en-US" sz="1600" dirty="0" smtClean="0">
                <a:solidFill>
                  <a:srgbClr val="FFE600"/>
                </a:solidFill>
                <a:latin typeface="+mn-lt"/>
              </a:defRPr>
            </a:lvl1pPr>
          </a:lstStyle>
          <a:p>
            <a:pPr marL="356616" lvl="0" indent="-356616" algn="ctr">
              <a:spcBef>
                <a:spcPts val="0"/>
              </a:spcBef>
              <a:spcAft>
                <a:spcPts val="600"/>
              </a:spcAft>
            </a:pPr>
            <a:r>
              <a:rPr lang="en-US" noProof="0"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282751" y="5780617"/>
            <a:ext cx="7632848" cy="316838"/>
          </a:xfrm>
          <a:prstGeom prst="rect">
            <a:avLst/>
          </a:prstGeom>
        </p:spPr>
        <p:txBody>
          <a:bodyPr vert="horz" lIns="0" tIns="0" rIns="0" bIns="0" rtlCol="0" anchor="t" anchorCtr="0">
            <a:noAutofit/>
          </a:bodyPr>
          <a:lstStyle>
            <a:lvl1pPr marL="0" indent="0" algn="ctr">
              <a:spcAft>
                <a:spcPts val="0"/>
              </a:spcAft>
              <a:buNone/>
              <a:defRPr lang="en-US" sz="1600" dirty="0" smtClean="0">
                <a:latin typeface="+mn-lt"/>
              </a:defRPr>
            </a:lvl1pPr>
          </a:lstStyle>
          <a:p>
            <a:pPr marL="356616" lvl="0" indent="-356616" algn="ctr">
              <a:spcBef>
                <a:spcPts val="0"/>
              </a:spcBef>
              <a:spcAft>
                <a:spcPts val="600"/>
              </a:spcAft>
            </a:pPr>
            <a:r>
              <a:rPr lang="en-US" noProof="0"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200" noProof="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9398711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Key_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A1DA559F-DADA-431C-A6FD-3B97C6CEA495}" type="datetime3">
              <a:rPr lang="en-US" noProof="0" smtClean="0"/>
              <a:t>14 September 2022</a:t>
            </a:fld>
            <a:endParaRPr lang="en-US" noProof="0"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noProof="0"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Nr.›</a:t>
            </a:fld>
            <a:endParaRPr lang="en-US" noProof="0" dirty="0"/>
          </a:p>
        </p:txBody>
      </p:sp>
      <p:sp>
        <p:nvSpPr>
          <p:cNvPr id="13" name="Textplatzhalter 12"/>
          <p:cNvSpPr>
            <a:spLocks noGrp="1"/>
          </p:cNvSpPr>
          <p:nvPr>
            <p:ph type="body" sz="quarter" idx="15" hasCustomPrompt="1"/>
          </p:nvPr>
        </p:nvSpPr>
        <p:spPr>
          <a:xfrm>
            <a:off x="1257301" y="2469060"/>
            <a:ext cx="9683750" cy="784225"/>
          </a:xfrm>
          <a:prstGeom prst="rect">
            <a:avLst/>
          </a:prstGeom>
        </p:spPr>
        <p:txBody>
          <a:bodyPr anchor="b"/>
          <a:lstStyle>
            <a:lvl1pPr marL="0" indent="0" algn="ctr">
              <a:spcBef>
                <a:spcPts val="0"/>
              </a:spcBef>
              <a:buNone/>
              <a:defRPr sz="3200"/>
            </a:lvl1pPr>
            <a:lvl2pPr>
              <a:defRPr sz="3200"/>
            </a:lvl2pPr>
            <a:lvl3pPr>
              <a:defRPr sz="3200"/>
            </a:lvl3pPr>
            <a:lvl4pPr>
              <a:defRPr sz="3200"/>
            </a:lvl4pPr>
            <a:lvl5pPr>
              <a:defRPr sz="3200"/>
            </a:lvl5pPr>
          </a:lstStyle>
          <a:p>
            <a:pPr lvl="0"/>
            <a:r>
              <a:rPr lang="en-US" noProof="0" dirty="0"/>
              <a:t>Statement 32pt, EY Interstate Light</a:t>
            </a:r>
          </a:p>
        </p:txBody>
      </p:sp>
      <p:sp>
        <p:nvSpPr>
          <p:cNvPr id="15" name="Textplatzhalter 14"/>
          <p:cNvSpPr>
            <a:spLocks noGrp="1"/>
          </p:cNvSpPr>
          <p:nvPr>
            <p:ph type="body" sz="quarter" idx="16" hasCustomPrompt="1"/>
          </p:nvPr>
        </p:nvSpPr>
        <p:spPr>
          <a:xfrm>
            <a:off x="3111500" y="3605394"/>
            <a:ext cx="5975350" cy="1411287"/>
          </a:xfrm>
          <a:prstGeom prst="rect">
            <a:avLst/>
          </a:prstGeom>
        </p:spPr>
        <p:txBody>
          <a:bodyPr/>
          <a:lstStyle>
            <a:lvl1pPr marL="0" indent="0" algn="ctr">
              <a:spcBef>
                <a:spcPts val="0"/>
              </a:spcBef>
              <a:buFontTx/>
              <a:buNone/>
              <a:defRPr sz="1800"/>
            </a:lvl1pPr>
            <a:lvl2pPr marL="357187" indent="0" algn="ctr">
              <a:buFontTx/>
              <a:buNone/>
              <a:defRPr/>
            </a:lvl2pPr>
            <a:lvl3pPr marL="685800" indent="0" algn="ctr">
              <a:buFontTx/>
              <a:buNone/>
              <a:defRPr/>
            </a:lvl3pPr>
            <a:lvl4pPr marL="973138" indent="0" algn="ctr">
              <a:buFontTx/>
              <a:buNone/>
              <a:defRPr/>
            </a:lvl4pPr>
            <a:lvl5pPr marL="1426464" indent="0" algn="ctr">
              <a:buFontTx/>
              <a:buNone/>
              <a:defRPr/>
            </a:lvl5pPr>
          </a:lstStyle>
          <a:p>
            <a:pPr lvl="0"/>
            <a:r>
              <a:rPr lang="en-US" noProof="0" dirty="0"/>
              <a:t>Description 18pt, </a:t>
            </a:r>
            <a:r>
              <a:rPr lang="en-US" noProof="0" dirty="0" err="1"/>
              <a:t>EYInterstate</a:t>
            </a:r>
            <a:r>
              <a:rPr lang="en-US" noProof="0" dirty="0"/>
              <a:t> Light ipsum dolor sit </a:t>
            </a:r>
            <a:br>
              <a:rPr lang="en-US" noProof="0" dirty="0"/>
            </a:br>
            <a:r>
              <a:rPr lang="en-US" noProof="0" dirty="0" err="1"/>
              <a:t>amet</a:t>
            </a:r>
            <a:r>
              <a:rPr lang="en-US" noProof="0" dirty="0"/>
              <a:t>, </a:t>
            </a:r>
            <a:r>
              <a:rPr lang="en-US" noProof="0" dirty="0" err="1"/>
              <a:t>quas</a:t>
            </a:r>
            <a:r>
              <a:rPr lang="en-US" noProof="0" dirty="0"/>
              <a:t> </a:t>
            </a:r>
            <a:r>
              <a:rPr lang="en-US" noProof="0" dirty="0" err="1"/>
              <a:t>nostru</a:t>
            </a:r>
            <a:r>
              <a:rPr lang="en-US" noProof="0" dirty="0"/>
              <a:t> </a:t>
            </a:r>
            <a:r>
              <a:rPr lang="en-US" noProof="0" dirty="0" err="1"/>
              <a:t>xgfc</a:t>
            </a:r>
            <a:r>
              <a:rPr lang="en-US" noProof="0" dirty="0"/>
              <a:t> </a:t>
            </a:r>
            <a:r>
              <a:rPr lang="en-US" noProof="0" dirty="0" err="1"/>
              <a:t>laoreet</a:t>
            </a:r>
            <a:r>
              <a:rPr lang="en-US" noProof="0" dirty="0"/>
              <a:t> per.</a:t>
            </a:r>
          </a:p>
        </p:txBody>
      </p:sp>
    </p:spTree>
    <p:extLst>
      <p:ext uri="{BB962C8B-B14F-4D97-AF65-F5344CB8AC3E}">
        <p14:creationId xmlns:p14="http://schemas.microsoft.com/office/powerpoint/2010/main" val="28832526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9_Two_columns_no_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88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sz="half" idx="1" hasCustomPrompt="1"/>
          </p:nvPr>
        </p:nvSpPr>
        <p:spPr>
          <a:xfrm>
            <a:off x="609918" y="1137919"/>
            <a:ext cx="5387605" cy="4954906"/>
          </a:xfrm>
          <a:prstGeom prst="rect">
            <a:avLst/>
          </a:prstGeom>
        </p:spPr>
        <p:txBody>
          <a:bodyPr vert="horz" lIns="0" tIns="0" rIns="0" bIns="0" rtlCol="0">
            <a:noAutofit/>
          </a:bodyPr>
          <a:lstStyle>
            <a:lvl1pPr>
              <a:defRPr lang="en-US" noProof="0" dirty="0" smtClean="0">
                <a:solidFill>
                  <a:schemeClr val="bg1"/>
                </a:solidFill>
              </a:defRPr>
            </a:lvl1pPr>
            <a:lvl2pPr>
              <a:defRPr lang="en-US" noProof="0" dirty="0" smtClean="0">
                <a:solidFill>
                  <a:schemeClr val="bg1"/>
                </a:solidFill>
              </a:defRPr>
            </a:lvl2pPr>
            <a:lvl3pPr>
              <a:defRPr lang="en-US" noProof="0" dirty="0" smtClean="0">
                <a:solidFill>
                  <a:schemeClr val="bg1"/>
                </a:solidFill>
              </a:defRPr>
            </a:lvl3pPr>
            <a:lvl4pPr>
              <a:defRPr lang="en-US" noProof="0" dirty="0" smtClean="0">
                <a:solidFill>
                  <a:schemeClr val="bg1"/>
                </a:solidFill>
              </a:defRPr>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4" name="Content Placeholder 3"/>
          <p:cNvSpPr>
            <a:spLocks noGrp="1"/>
          </p:cNvSpPr>
          <p:nvPr>
            <p:ph sz="half" idx="2" hasCustomPrompt="1"/>
          </p:nvPr>
        </p:nvSpPr>
        <p:spPr>
          <a:xfrm>
            <a:off x="6200828" y="1137919"/>
            <a:ext cx="5387605" cy="495490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solidFill>
                  <a:schemeClr val="bg1"/>
                </a:solidFill>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solidFill>
                  <a:schemeClr val="bg1"/>
                </a:solidFill>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solidFill>
                  <a:schemeClr val="bg1"/>
                </a:solidFill>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solidFill>
                  <a:schemeClr val="bg1"/>
                </a:solidFill>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988B4BAF-3AE0-44AC-9C71-C47D9E4DFFEC}" type="datetime3">
              <a:rPr lang="en-US" noProof="0" smtClean="0"/>
              <a:t>14 September 2022</a:t>
            </a:fld>
            <a:endParaRPr lang="en-US" noProof="0"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652350790"/>
      </p:ext>
    </p:extLst>
  </p:cSld>
  <p:clrMapOvr>
    <a:masterClrMapping/>
  </p:clrMapOvr>
  <p:extLst>
    <p:ext uri="{DCECCB84-F9BA-43D5-87BE-67443E8EF086}">
      <p15:sldGuideLst xmlns:p15="http://schemas.microsoft.com/office/powerpoint/2012/main">
        <p15:guide id="1" pos="3774">
          <p15:clr>
            <a:srgbClr val="FBAE40"/>
          </p15:clr>
        </p15:guide>
        <p15:guide id="2" pos="391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Two_columns_with_heading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12648" y="1869440"/>
            <a:ext cx="5393208" cy="422338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4" name="Content Placeholder 3"/>
          <p:cNvSpPr>
            <a:spLocks noGrp="1"/>
          </p:cNvSpPr>
          <p:nvPr>
            <p:ph sz="half" idx="2" hasCustomPrompt="1"/>
          </p:nvPr>
        </p:nvSpPr>
        <p:spPr>
          <a:xfrm>
            <a:off x="6199632" y="1869440"/>
            <a:ext cx="5393208" cy="422338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10" name="Text Placeholder 9"/>
          <p:cNvSpPr>
            <a:spLocks noGrp="1"/>
          </p:cNvSpPr>
          <p:nvPr>
            <p:ph type="body" sz="quarter" idx="12" hasCustomPrompt="1"/>
          </p:nvPr>
        </p:nvSpPr>
        <p:spPr>
          <a:xfrm>
            <a:off x="609918" y="1137920"/>
            <a:ext cx="5393208" cy="640800"/>
          </a:xfrm>
          <a:prstGeom prst="rect">
            <a:avLst/>
          </a:prstGeom>
        </p:spPr>
        <p:txBody>
          <a:bodyPr anchor="t" anchorCtr="0"/>
          <a:lstStyle>
            <a:lvl1pPr>
              <a:buNone/>
              <a:defRPr b="1">
                <a:solidFill>
                  <a:schemeClr val="bg1"/>
                </a:solidFill>
              </a:defRPr>
            </a:lvl1pPr>
          </a:lstStyle>
          <a:p>
            <a:pPr lvl="0"/>
            <a:r>
              <a:rPr lang="en-US" noProof="0" dirty="0"/>
              <a:t>Click to edit</a:t>
            </a:r>
          </a:p>
        </p:txBody>
      </p:sp>
      <p:sp>
        <p:nvSpPr>
          <p:cNvPr id="11" name="Text Placeholder 9"/>
          <p:cNvSpPr>
            <a:spLocks noGrp="1"/>
          </p:cNvSpPr>
          <p:nvPr>
            <p:ph type="body" sz="quarter" idx="13" hasCustomPrompt="1"/>
          </p:nvPr>
        </p:nvSpPr>
        <p:spPr>
          <a:xfrm>
            <a:off x="6199632" y="1137920"/>
            <a:ext cx="5393208" cy="640800"/>
          </a:xfrm>
          <a:prstGeom prst="rect">
            <a:avLst/>
          </a:prstGeom>
        </p:spPr>
        <p:txBody>
          <a:bodyPr anchor="t" anchorCtr="0"/>
          <a:lstStyle>
            <a:lvl1pPr>
              <a:buNone/>
              <a:defRPr b="1">
                <a:solidFill>
                  <a:schemeClr val="bg1"/>
                </a:solidFill>
              </a:defRPr>
            </a:lvl1pPr>
          </a:lstStyle>
          <a:p>
            <a:pPr lvl="0"/>
            <a:r>
              <a:rPr lang="en-US" noProof="0" dirty="0"/>
              <a:t>Click to edit</a:t>
            </a:r>
          </a:p>
        </p:txBody>
      </p:sp>
      <p:sp>
        <p:nvSpPr>
          <p:cNvPr id="2" name="Title 1"/>
          <p:cNvSpPr>
            <a:spLocks noGrp="1"/>
          </p:cNvSpPr>
          <p:nvPr>
            <p:ph type="title" hasCustomPrompt="1"/>
          </p:nvPr>
        </p:nvSpPr>
        <p:spPr>
          <a:xfrm>
            <a:off x="609918" y="294200"/>
            <a:ext cx="10978515" cy="590880"/>
          </a:xfrm>
        </p:spPr>
        <p:txBody>
          <a:bodyPr/>
          <a:lstStyle>
            <a:lvl1pPr>
              <a:defRPr>
                <a:solidFill>
                  <a:schemeClr val="bg1"/>
                </a:solidFill>
              </a:defRPr>
            </a:lvl1pPr>
          </a:lstStyle>
          <a:p>
            <a:r>
              <a:rPr lang="en-US" noProof="0"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16510D6D-30BD-4075-B43B-6E2BF2FEC1F8}" type="datetime3">
              <a:rPr lang="en-US" noProof="0" smtClean="0"/>
              <a:t>14 September 2022</a:t>
            </a:fld>
            <a:endParaRPr lang="en-US" noProof="0"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3625173163"/>
      </p:ext>
    </p:extLst>
  </p:cSld>
  <p:clrMapOvr>
    <a:masterClrMapping/>
  </p:clrMapOvr>
  <p:extLst>
    <p:ext uri="{DCECCB84-F9BA-43D5-87BE-67443E8EF086}">
      <p15:sldGuideLst xmlns:p15="http://schemas.microsoft.com/office/powerpoint/2012/main">
        <p15:guide id="1" pos="3909">
          <p15:clr>
            <a:srgbClr val="FBAE40"/>
          </p15:clr>
        </p15:guide>
        <p15:guide id="2" pos="37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23EB5111-4321-4A8B-8136-0060A1CE4C12}" type="datetime3">
              <a:rPr lang="en-US" noProof="0" smtClean="0"/>
              <a:t>14 September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Nr.›</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Tree>
    <p:extLst>
      <p:ext uri="{BB962C8B-B14F-4D97-AF65-F5344CB8AC3E}">
        <p14:creationId xmlns:p14="http://schemas.microsoft.com/office/powerpoint/2010/main" val="2534576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Divider_1">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hasCustomPrompt="1"/>
          </p:nvPr>
        </p:nvSpPr>
        <p:spPr>
          <a:xfrm>
            <a:off x="6227180" y="0"/>
            <a:ext cx="5971170" cy="6858000"/>
          </a:xfrm>
          <a:prstGeom prst="rect">
            <a:avLst/>
          </a:prstGeom>
        </p:spPr>
        <p:txBody>
          <a:bodyPr/>
          <a:lstStyle>
            <a:lvl1pPr marL="0" indent="0">
              <a:buFontTx/>
              <a:buNone/>
              <a:defRPr/>
            </a:lvl1pPr>
          </a:lstStyle>
          <a:p>
            <a:r>
              <a:rPr lang="en-US" noProof="0" dirty="0"/>
              <a:t>Click icon to add picture</a:t>
            </a:r>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00710" y="2578743"/>
            <a:ext cx="4537959" cy="1055708"/>
          </a:xfrm>
          <a:prstGeom prst="rect">
            <a:avLst/>
          </a:prstGeom>
        </p:spPr>
        <p:txBody>
          <a:bodyPr/>
          <a:lstStyle>
            <a:lvl1pPr marL="0" indent="0">
              <a:buNone/>
              <a:defRPr sz="3000"/>
            </a:lvl1pPr>
          </a:lstStyle>
          <a:p>
            <a:pPr lvl="0"/>
            <a:r>
              <a:rPr lang="en-US" noProof="0" dirty="0"/>
              <a:t>Chapter Title</a:t>
            </a:r>
          </a:p>
          <a:p>
            <a:pPr lvl="0"/>
            <a:r>
              <a:rPr lang="en-US" noProof="0"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p:nvPr>
        </p:nvSpPr>
        <p:spPr>
          <a:xfrm>
            <a:off x="600710" y="3840384"/>
            <a:ext cx="4537959" cy="1055708"/>
          </a:xfrm>
          <a:prstGeom prst="rect">
            <a:avLst/>
          </a:prstGeom>
        </p:spPr>
        <p:txBody>
          <a:bodyPr/>
          <a:lstStyle>
            <a:lvl1pPr marL="0" indent="0">
              <a:buNone/>
              <a:defRPr sz="1600"/>
            </a:lvl1pPr>
          </a:lstStyle>
          <a:p>
            <a:pPr lvl="0"/>
            <a:r>
              <a:rPr lang="de-DE" noProof="0"/>
              <a:t>Textmasterformat bearbeiten</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A8A1D8A6-A55E-4F4D-ACDB-F9BB16570E5A}" type="datetime3">
              <a:rPr lang="en-US" noProof="0" smtClean="0"/>
              <a:t>14 September 2022</a:t>
            </a:fld>
            <a:endParaRPr lang="en-US" noProof="0"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noProof="0"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1283773252"/>
      </p:ext>
    </p:extLst>
  </p:cSld>
  <p:clrMapOvr>
    <a:masterClrMapping/>
  </p:clrMapOvr>
  <p:extLst>
    <p:ext uri="{DCECCB84-F9BA-43D5-87BE-67443E8EF086}">
      <p15:sldGuideLst xmlns:p15="http://schemas.microsoft.com/office/powerpoint/2012/main">
        <p15:guide id="1" pos="391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330310"/>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0528A72D-CB0C-4AE6-BEB4-2489144EE777}" type="datetime3">
              <a:rPr lang="en-US" noProof="0" smtClean="0"/>
              <a:t>14 September 2022</a:t>
            </a:fld>
            <a:endParaRPr lang="en-US" noProof="0"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noProof="0"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Nr.›</a:t>
            </a:fld>
            <a:endParaRPr lang="en-US" noProof="0" dirty="0"/>
          </a:p>
        </p:txBody>
      </p:sp>
      <p:sp>
        <p:nvSpPr>
          <p:cNvPr id="8"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27060345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4_Video_full_screen">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a:prstGeom prst="rect">
            <a:avLst/>
          </a:prstGeom>
        </p:spPr>
        <p:txBody>
          <a:bodyPr anchor="ctr"/>
          <a:lstStyle>
            <a:lvl1pPr marL="0" indent="0" algn="ctr">
              <a:buNone/>
              <a:defRPr/>
            </a:lvl1pPr>
          </a:lstStyle>
          <a:p>
            <a:r>
              <a:rPr lang="en-US" noProof="0"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7D5E4DB0-3F0E-4299-A8C0-F6EFC443BC0A}" type="datetime3">
              <a:rPr lang="en-US" noProof="0" smtClean="0"/>
              <a:t>14 September 2022</a:t>
            </a:fld>
            <a:endParaRPr lang="en-US" noProof="0"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noProof="0"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38937931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5_Cover_approved_question_tal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557756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52"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186" name="Group 185">
            <a:extLst>
              <a:ext uri="{FF2B5EF4-FFF2-40B4-BE49-F238E27FC236}">
                <a16:creationId xmlns:a16="http://schemas.microsoft.com/office/drawing/2014/main" id="{9CDE954B-B280-441B-9B2D-3DC58AAE3926}"/>
              </a:ext>
            </a:extLst>
          </p:cNvPr>
          <p:cNvGrpSpPr/>
          <p:nvPr userDrawn="1"/>
        </p:nvGrpSpPr>
        <p:grpSpPr bwMode="invGray">
          <a:xfrm>
            <a:off x="622940"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1069705" y="2158329"/>
            <a:ext cx="4020820"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a:xfrm>
            <a:off x="1069897"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4191"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US" noProof="0"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5"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7"/>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pic>
        <p:nvPicPr>
          <p:cNvPr id="156" name="Grafik 15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701887" y="440057"/>
            <a:ext cx="1880290" cy="961200"/>
          </a:xfrm>
          <a:prstGeom prst="rect">
            <a:avLst/>
          </a:prstGeom>
        </p:spPr>
      </p:pic>
    </p:spTree>
    <p:extLst>
      <p:ext uri="{BB962C8B-B14F-4D97-AF65-F5344CB8AC3E}">
        <p14:creationId xmlns:p14="http://schemas.microsoft.com/office/powerpoint/2010/main" val="3223069215"/>
      </p:ext>
    </p:extLst>
  </p:cSld>
  <p:clrMapOvr>
    <a:masterClrMapping/>
  </p:clrMapOvr>
  <p:extLst>
    <p:ext uri="{DCECCB84-F9BA-43D5-87BE-67443E8EF086}">
      <p15:sldGuideLst xmlns:p15="http://schemas.microsoft.com/office/powerpoint/2012/main">
        <p15:guide id="1" pos="674">
          <p15:clr>
            <a:srgbClr val="FBAE40"/>
          </p15:clr>
        </p15:guide>
        <p15:guide id="2" orient="horz" pos="1350">
          <p15:clr>
            <a:srgbClr val="FBAE40"/>
          </p15:clr>
        </p15:guide>
        <p15:guide id="3" orient="horz" pos="201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5_Cover_approved_question_tall_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378392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6"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8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622940" y="5826612"/>
            <a:ext cx="3878023" cy="570195"/>
            <a:chOff x="498115" y="5951018"/>
            <a:chExt cx="3878023" cy="570195"/>
          </a:xfrm>
          <a:solidFill>
            <a:srgbClr val="FFFFFF"/>
          </a:solidFill>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bwMode="gray">
          <a:xfrm>
            <a:off x="1069705" y="2158329"/>
            <a:ext cx="4020820"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noProof="0" dirty="0"/>
              <a:t>Click to edit Master title style</a:t>
            </a:r>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bwMode="gray">
          <a:xfrm>
            <a:off x="1069897" y="3200329"/>
            <a:ext cx="4020628" cy="645742"/>
          </a:xfrm>
          <a:prstGeom prst="rect">
            <a:avLst/>
          </a:prstGeom>
        </p:spPr>
        <p:txBody>
          <a:bodyPr/>
          <a:lstStyle>
            <a:lvl1pPr marL="0" indent="0" algn="l">
              <a:buNone/>
              <a:defRPr sz="2000">
                <a:solidFill>
                  <a:srgbClr val="FFFFFF"/>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4191"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US" noProof="0"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7"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8"/>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grpSp>
        <p:nvGrpSpPr>
          <p:cNvPr id="88" name="Gruppieren 87"/>
          <p:cNvGrpSpPr/>
          <p:nvPr userDrawn="1"/>
        </p:nvGrpSpPr>
        <p:grpSpPr bwMode="white">
          <a:xfrm>
            <a:off x="9713775" y="440057"/>
            <a:ext cx="1868402" cy="962657"/>
            <a:chOff x="9731769" y="638177"/>
            <a:chExt cx="2017456" cy="1039454"/>
          </a:xfrm>
        </p:grpSpPr>
        <p:sp>
          <p:nvSpPr>
            <p:cNvPr id="89" name="Freeform 5">
              <a:extLst>
                <a:ext uri="{FF2B5EF4-FFF2-40B4-BE49-F238E27FC236}">
                  <a16:creationId xmlns:a16="http://schemas.microsoft.com/office/drawing/2014/main" id="{8A9BDB58-231B-4B70-8059-20CAA94E9F64}"/>
                </a:ext>
              </a:extLst>
            </p:cNvPr>
            <p:cNvSpPr>
              <a:spLocks noEditPoints="1"/>
            </p:cNvSpPr>
            <p:nvPr/>
          </p:nvSpPr>
          <p:spPr bwMode="white">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0" name="Freeform 6">
              <a:extLst>
                <a:ext uri="{FF2B5EF4-FFF2-40B4-BE49-F238E27FC236}">
                  <a16:creationId xmlns:a16="http://schemas.microsoft.com/office/drawing/2014/main" id="{97DAE07B-DE87-4358-BA44-6531EF3573CD}"/>
                </a:ext>
              </a:extLst>
            </p:cNvPr>
            <p:cNvSpPr>
              <a:spLocks/>
            </p:cNvSpPr>
            <p:nvPr/>
          </p:nvSpPr>
          <p:spPr bwMode="white">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1" name="Freeform 7">
              <a:extLst>
                <a:ext uri="{FF2B5EF4-FFF2-40B4-BE49-F238E27FC236}">
                  <a16:creationId xmlns:a16="http://schemas.microsoft.com/office/drawing/2014/main" id="{39829C97-B9FD-4508-8651-C460629865A1}"/>
                </a:ext>
              </a:extLst>
            </p:cNvPr>
            <p:cNvSpPr>
              <a:spLocks noEditPoints="1"/>
            </p:cNvSpPr>
            <p:nvPr/>
          </p:nvSpPr>
          <p:spPr bwMode="white">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2" name="Freeform 8">
              <a:extLst>
                <a:ext uri="{FF2B5EF4-FFF2-40B4-BE49-F238E27FC236}">
                  <a16:creationId xmlns:a16="http://schemas.microsoft.com/office/drawing/2014/main" id="{E6E8D961-2633-4DD4-9603-DC987B33CBF8}"/>
                </a:ext>
              </a:extLst>
            </p:cNvPr>
            <p:cNvSpPr>
              <a:spLocks noEditPoints="1"/>
            </p:cNvSpPr>
            <p:nvPr/>
          </p:nvSpPr>
          <p:spPr bwMode="white">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3" name="Freeform 9">
              <a:extLst>
                <a:ext uri="{FF2B5EF4-FFF2-40B4-BE49-F238E27FC236}">
                  <a16:creationId xmlns:a16="http://schemas.microsoft.com/office/drawing/2014/main" id="{F4A1F26E-26EA-44D8-8D11-97229CEC2530}"/>
                </a:ext>
              </a:extLst>
            </p:cNvPr>
            <p:cNvSpPr>
              <a:spLocks/>
            </p:cNvSpPr>
            <p:nvPr/>
          </p:nvSpPr>
          <p:spPr bwMode="white">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4" name="Freeform 10">
              <a:extLst>
                <a:ext uri="{FF2B5EF4-FFF2-40B4-BE49-F238E27FC236}">
                  <a16:creationId xmlns:a16="http://schemas.microsoft.com/office/drawing/2014/main" id="{45C1803D-4651-4E80-B712-F3F311657C4D}"/>
                </a:ext>
              </a:extLst>
            </p:cNvPr>
            <p:cNvSpPr>
              <a:spLocks/>
            </p:cNvSpPr>
            <p:nvPr/>
          </p:nvSpPr>
          <p:spPr bwMode="white">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5" name="Freeform 11">
              <a:extLst>
                <a:ext uri="{FF2B5EF4-FFF2-40B4-BE49-F238E27FC236}">
                  <a16:creationId xmlns:a16="http://schemas.microsoft.com/office/drawing/2014/main" id="{711CC3A8-EDFC-4EAE-A2DC-ACDC3B1D9DEB}"/>
                </a:ext>
              </a:extLst>
            </p:cNvPr>
            <p:cNvSpPr>
              <a:spLocks/>
            </p:cNvSpPr>
            <p:nvPr/>
          </p:nvSpPr>
          <p:spPr bwMode="white">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6" name="Freeform 12">
              <a:extLst>
                <a:ext uri="{FF2B5EF4-FFF2-40B4-BE49-F238E27FC236}">
                  <a16:creationId xmlns:a16="http://schemas.microsoft.com/office/drawing/2014/main" id="{C17A032D-DB72-46B0-B4C8-EE8C8CC504F2}"/>
                </a:ext>
              </a:extLst>
            </p:cNvPr>
            <p:cNvSpPr>
              <a:spLocks/>
            </p:cNvSpPr>
            <p:nvPr/>
          </p:nvSpPr>
          <p:spPr bwMode="white">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7" name="Freeform 13">
              <a:extLst>
                <a:ext uri="{FF2B5EF4-FFF2-40B4-BE49-F238E27FC236}">
                  <a16:creationId xmlns:a16="http://schemas.microsoft.com/office/drawing/2014/main" id="{2280FDE2-015D-4B7A-8900-05F5FB783060}"/>
                </a:ext>
              </a:extLst>
            </p:cNvPr>
            <p:cNvSpPr>
              <a:spLocks/>
            </p:cNvSpPr>
            <p:nvPr/>
          </p:nvSpPr>
          <p:spPr bwMode="white">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8" name="Freeform 14">
              <a:extLst>
                <a:ext uri="{FF2B5EF4-FFF2-40B4-BE49-F238E27FC236}">
                  <a16:creationId xmlns:a16="http://schemas.microsoft.com/office/drawing/2014/main" id="{D3D1BB3D-6AD6-4BE1-893D-EBCB285005E9}"/>
                </a:ext>
              </a:extLst>
            </p:cNvPr>
            <p:cNvSpPr>
              <a:spLocks/>
            </p:cNvSpPr>
            <p:nvPr/>
          </p:nvSpPr>
          <p:spPr bwMode="white">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9" name="Freeform 15">
              <a:extLst>
                <a:ext uri="{FF2B5EF4-FFF2-40B4-BE49-F238E27FC236}">
                  <a16:creationId xmlns:a16="http://schemas.microsoft.com/office/drawing/2014/main" id="{98B7DF92-85DC-454B-9A4B-F9A35E6A3C3A}"/>
                </a:ext>
              </a:extLst>
            </p:cNvPr>
            <p:cNvSpPr>
              <a:spLocks noEditPoints="1"/>
            </p:cNvSpPr>
            <p:nvPr/>
          </p:nvSpPr>
          <p:spPr bwMode="white">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0" name="Freeform 16">
              <a:extLst>
                <a:ext uri="{FF2B5EF4-FFF2-40B4-BE49-F238E27FC236}">
                  <a16:creationId xmlns:a16="http://schemas.microsoft.com/office/drawing/2014/main" id="{42944BA6-F9C0-48FA-B96D-E1DF6E30FA74}"/>
                </a:ext>
              </a:extLst>
            </p:cNvPr>
            <p:cNvSpPr>
              <a:spLocks/>
            </p:cNvSpPr>
            <p:nvPr/>
          </p:nvSpPr>
          <p:spPr bwMode="white">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1" name="Freeform 17">
              <a:extLst>
                <a:ext uri="{FF2B5EF4-FFF2-40B4-BE49-F238E27FC236}">
                  <a16:creationId xmlns:a16="http://schemas.microsoft.com/office/drawing/2014/main" id="{AD76CDEE-75C6-43F6-B367-6EF14BC3B7FE}"/>
                </a:ext>
              </a:extLst>
            </p:cNvPr>
            <p:cNvSpPr>
              <a:spLocks noEditPoints="1"/>
            </p:cNvSpPr>
            <p:nvPr/>
          </p:nvSpPr>
          <p:spPr bwMode="white">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2" name="Freeform 18">
              <a:extLst>
                <a:ext uri="{FF2B5EF4-FFF2-40B4-BE49-F238E27FC236}">
                  <a16:creationId xmlns:a16="http://schemas.microsoft.com/office/drawing/2014/main" id="{DACB136F-C6ED-433D-9631-749BCDC77B78}"/>
                </a:ext>
              </a:extLst>
            </p:cNvPr>
            <p:cNvSpPr>
              <a:spLocks noEditPoints="1"/>
            </p:cNvSpPr>
            <p:nvPr/>
          </p:nvSpPr>
          <p:spPr bwMode="white">
            <a:xfrm>
              <a:off x="9731769" y="1406980"/>
              <a:ext cx="19613" cy="91524"/>
            </a:xfrm>
            <a:custGeom>
              <a:avLst/>
              <a:gdLst>
                <a:gd name="T0" fmla="*/ 29 w 29"/>
                <a:gd name="T1" fmla="*/ 14 h 134"/>
                <a:gd name="T2" fmla="*/ 28 w 29"/>
                <a:gd name="T3" fmla="*/ 20 h 134"/>
                <a:gd name="T4" fmla="*/ 25 w 29"/>
                <a:gd name="T5" fmla="*/ 25 h 134"/>
                <a:gd name="T6" fmla="*/ 20 w 29"/>
                <a:gd name="T7" fmla="*/ 28 h 134"/>
                <a:gd name="T8" fmla="*/ 15 w 29"/>
                <a:gd name="T9" fmla="*/ 29 h 134"/>
                <a:gd name="T10" fmla="*/ 9 w 29"/>
                <a:gd name="T11" fmla="*/ 28 h 134"/>
                <a:gd name="T12" fmla="*/ 5 w 29"/>
                <a:gd name="T13" fmla="*/ 25 h 134"/>
                <a:gd name="T14" fmla="*/ 1 w 29"/>
                <a:gd name="T15" fmla="*/ 20 h 134"/>
                <a:gd name="T16" fmla="*/ 0 w 29"/>
                <a:gd name="T17" fmla="*/ 14 h 134"/>
                <a:gd name="T18" fmla="*/ 1 w 29"/>
                <a:gd name="T19" fmla="*/ 9 h 134"/>
                <a:gd name="T20" fmla="*/ 5 w 29"/>
                <a:gd name="T21" fmla="*/ 4 h 134"/>
                <a:gd name="T22" fmla="*/ 9 w 29"/>
                <a:gd name="T23" fmla="*/ 1 h 134"/>
                <a:gd name="T24" fmla="*/ 15 w 29"/>
                <a:gd name="T25" fmla="*/ 0 h 134"/>
                <a:gd name="T26" fmla="*/ 20 w 29"/>
                <a:gd name="T27" fmla="*/ 1 h 134"/>
                <a:gd name="T28" fmla="*/ 25 w 29"/>
                <a:gd name="T29" fmla="*/ 4 h 134"/>
                <a:gd name="T30" fmla="*/ 28 w 29"/>
                <a:gd name="T31" fmla="*/ 9 h 134"/>
                <a:gd name="T32" fmla="*/ 29 w 29"/>
                <a:gd name="T33" fmla="*/ 14 h 134"/>
                <a:gd name="T34" fmla="*/ 2 w 29"/>
                <a:gd name="T35" fmla="*/ 134 h 134"/>
                <a:gd name="T36" fmla="*/ 2 w 29"/>
                <a:gd name="T37" fmla="*/ 37 h 134"/>
                <a:gd name="T38" fmla="*/ 28 w 29"/>
                <a:gd name="T39" fmla="*/ 37 h 134"/>
                <a:gd name="T40" fmla="*/ 28 w 29"/>
                <a:gd name="T41" fmla="*/ 134 h 134"/>
                <a:gd name="T42" fmla="*/ 2 w 29"/>
                <a:gd name="T4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134">
                  <a:moveTo>
                    <a:pt x="29" y="14"/>
                  </a:moveTo>
                  <a:cubicBezTo>
                    <a:pt x="29" y="16"/>
                    <a:pt x="29" y="18"/>
                    <a:pt x="28" y="20"/>
                  </a:cubicBezTo>
                  <a:cubicBezTo>
                    <a:pt x="28" y="22"/>
                    <a:pt x="26" y="23"/>
                    <a:pt x="25" y="25"/>
                  </a:cubicBezTo>
                  <a:cubicBezTo>
                    <a:pt x="24" y="26"/>
                    <a:pt x="22" y="27"/>
                    <a:pt x="20" y="28"/>
                  </a:cubicBezTo>
                  <a:cubicBezTo>
                    <a:pt x="19" y="29"/>
                    <a:pt x="17" y="29"/>
                    <a:pt x="15" y="29"/>
                  </a:cubicBezTo>
                  <a:cubicBezTo>
                    <a:pt x="13" y="29"/>
                    <a:pt x="11" y="29"/>
                    <a:pt x="9" y="28"/>
                  </a:cubicBezTo>
                  <a:cubicBezTo>
                    <a:pt x="7" y="27"/>
                    <a:pt x="6" y="26"/>
                    <a:pt x="5" y="25"/>
                  </a:cubicBezTo>
                  <a:cubicBezTo>
                    <a:pt x="3" y="23"/>
                    <a:pt x="2" y="22"/>
                    <a:pt x="1" y="20"/>
                  </a:cubicBezTo>
                  <a:cubicBezTo>
                    <a:pt x="1" y="18"/>
                    <a:pt x="0" y="16"/>
                    <a:pt x="0" y="14"/>
                  </a:cubicBezTo>
                  <a:cubicBezTo>
                    <a:pt x="0" y="12"/>
                    <a:pt x="1" y="11"/>
                    <a:pt x="1" y="9"/>
                  </a:cubicBezTo>
                  <a:cubicBezTo>
                    <a:pt x="2" y="7"/>
                    <a:pt x="3" y="5"/>
                    <a:pt x="5" y="4"/>
                  </a:cubicBezTo>
                  <a:cubicBezTo>
                    <a:pt x="6" y="3"/>
                    <a:pt x="7" y="2"/>
                    <a:pt x="9" y="1"/>
                  </a:cubicBezTo>
                  <a:cubicBezTo>
                    <a:pt x="11" y="0"/>
                    <a:pt x="13" y="0"/>
                    <a:pt x="15" y="0"/>
                  </a:cubicBezTo>
                  <a:cubicBezTo>
                    <a:pt x="17" y="0"/>
                    <a:pt x="19" y="0"/>
                    <a:pt x="20" y="1"/>
                  </a:cubicBezTo>
                  <a:cubicBezTo>
                    <a:pt x="22" y="2"/>
                    <a:pt x="24" y="3"/>
                    <a:pt x="25" y="4"/>
                  </a:cubicBezTo>
                  <a:cubicBezTo>
                    <a:pt x="26" y="5"/>
                    <a:pt x="28" y="7"/>
                    <a:pt x="28" y="9"/>
                  </a:cubicBezTo>
                  <a:cubicBezTo>
                    <a:pt x="29" y="11"/>
                    <a:pt x="29" y="12"/>
                    <a:pt x="29" y="14"/>
                  </a:cubicBezTo>
                  <a:close/>
                  <a:moveTo>
                    <a:pt x="2" y="134"/>
                  </a:moveTo>
                  <a:cubicBezTo>
                    <a:pt x="2" y="37"/>
                    <a:pt x="2" y="37"/>
                    <a:pt x="2" y="37"/>
                  </a:cubicBezTo>
                  <a:cubicBezTo>
                    <a:pt x="28" y="37"/>
                    <a:pt x="28" y="37"/>
                    <a:pt x="28" y="37"/>
                  </a:cubicBezTo>
                  <a:cubicBezTo>
                    <a:pt x="28" y="134"/>
                    <a:pt x="28" y="134"/>
                    <a:pt x="28" y="134"/>
                  </a:cubicBezTo>
                  <a:lnTo>
                    <a:pt x="2" y="13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3" name="Freeform 19">
              <a:extLst>
                <a:ext uri="{FF2B5EF4-FFF2-40B4-BE49-F238E27FC236}">
                  <a16:creationId xmlns:a16="http://schemas.microsoft.com/office/drawing/2014/main" id="{922FADCD-4917-47C7-ADDB-1574B3C49CA8}"/>
                </a:ext>
              </a:extLst>
            </p:cNvPr>
            <p:cNvSpPr>
              <a:spLocks/>
            </p:cNvSpPr>
            <p:nvPr/>
          </p:nvSpPr>
          <p:spPr bwMode="white">
            <a:xfrm>
              <a:off x="9767071" y="1430515"/>
              <a:ext cx="58837" cy="67989"/>
            </a:xfrm>
            <a:custGeom>
              <a:avLst/>
              <a:gdLst>
                <a:gd name="T0" fmla="*/ 59 w 85"/>
                <a:gd name="T1" fmla="*/ 99 h 99"/>
                <a:gd name="T2" fmla="*/ 59 w 85"/>
                <a:gd name="T3" fmla="*/ 47 h 99"/>
                <a:gd name="T4" fmla="*/ 55 w 85"/>
                <a:gd name="T5" fmla="*/ 30 h 99"/>
                <a:gd name="T6" fmla="*/ 43 w 85"/>
                <a:gd name="T7" fmla="*/ 24 h 99"/>
                <a:gd name="T8" fmla="*/ 35 w 85"/>
                <a:gd name="T9" fmla="*/ 25 h 99"/>
                <a:gd name="T10" fmla="*/ 30 w 85"/>
                <a:gd name="T11" fmla="*/ 29 h 99"/>
                <a:gd name="T12" fmla="*/ 27 w 85"/>
                <a:gd name="T13" fmla="*/ 35 h 99"/>
                <a:gd name="T14" fmla="*/ 26 w 85"/>
                <a:gd name="T15" fmla="*/ 46 h 99"/>
                <a:gd name="T16" fmla="*/ 26 w 85"/>
                <a:gd name="T17" fmla="*/ 99 h 99"/>
                <a:gd name="T18" fmla="*/ 0 w 85"/>
                <a:gd name="T19" fmla="*/ 99 h 99"/>
                <a:gd name="T20" fmla="*/ 0 w 85"/>
                <a:gd name="T21" fmla="*/ 2 h 99"/>
                <a:gd name="T22" fmla="*/ 26 w 85"/>
                <a:gd name="T23" fmla="*/ 2 h 99"/>
                <a:gd name="T24" fmla="*/ 26 w 85"/>
                <a:gd name="T25" fmla="*/ 8 h 99"/>
                <a:gd name="T26" fmla="*/ 30 w 85"/>
                <a:gd name="T27" fmla="*/ 5 h 99"/>
                <a:gd name="T28" fmla="*/ 35 w 85"/>
                <a:gd name="T29" fmla="*/ 2 h 99"/>
                <a:gd name="T30" fmla="*/ 42 w 85"/>
                <a:gd name="T31" fmla="*/ 1 h 99"/>
                <a:gd name="T32" fmla="*/ 49 w 85"/>
                <a:gd name="T33" fmla="*/ 0 h 99"/>
                <a:gd name="T34" fmla="*/ 65 w 85"/>
                <a:gd name="T35" fmla="*/ 3 h 99"/>
                <a:gd name="T36" fmla="*/ 76 w 85"/>
                <a:gd name="T37" fmla="*/ 12 h 99"/>
                <a:gd name="T38" fmla="*/ 82 w 85"/>
                <a:gd name="T39" fmla="*/ 26 h 99"/>
                <a:gd name="T40" fmla="*/ 85 w 85"/>
                <a:gd name="T41" fmla="*/ 44 h 99"/>
                <a:gd name="T42" fmla="*/ 85 w 85"/>
                <a:gd name="T43" fmla="*/ 99 h 99"/>
                <a:gd name="T44" fmla="*/ 59 w 85"/>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99">
                  <a:moveTo>
                    <a:pt x="59" y="99"/>
                  </a:moveTo>
                  <a:cubicBezTo>
                    <a:pt x="59" y="47"/>
                    <a:pt x="59" y="47"/>
                    <a:pt x="59" y="47"/>
                  </a:cubicBezTo>
                  <a:cubicBezTo>
                    <a:pt x="59" y="39"/>
                    <a:pt x="58" y="33"/>
                    <a:pt x="55" y="30"/>
                  </a:cubicBezTo>
                  <a:cubicBezTo>
                    <a:pt x="53" y="26"/>
                    <a:pt x="49" y="24"/>
                    <a:pt x="43" y="24"/>
                  </a:cubicBezTo>
                  <a:cubicBezTo>
                    <a:pt x="40" y="24"/>
                    <a:pt x="38" y="24"/>
                    <a:pt x="35" y="25"/>
                  </a:cubicBezTo>
                  <a:cubicBezTo>
                    <a:pt x="33" y="26"/>
                    <a:pt x="32"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2" y="1"/>
                  </a:cubicBezTo>
                  <a:cubicBezTo>
                    <a:pt x="44" y="0"/>
                    <a:pt x="46" y="0"/>
                    <a:pt x="49" y="0"/>
                  </a:cubicBezTo>
                  <a:cubicBezTo>
                    <a:pt x="55" y="0"/>
                    <a:pt x="60" y="1"/>
                    <a:pt x="65" y="3"/>
                  </a:cubicBezTo>
                  <a:cubicBezTo>
                    <a:pt x="69" y="5"/>
                    <a:pt x="73" y="8"/>
                    <a:pt x="76" y="12"/>
                  </a:cubicBezTo>
                  <a:cubicBezTo>
                    <a:pt x="79" y="16"/>
                    <a:pt x="81" y="20"/>
                    <a:pt x="82" y="26"/>
                  </a:cubicBezTo>
                  <a:cubicBezTo>
                    <a:pt x="84" y="31"/>
                    <a:pt x="85" y="38"/>
                    <a:pt x="85" y="44"/>
                  </a:cubicBezTo>
                  <a:cubicBezTo>
                    <a:pt x="85" y="99"/>
                    <a:pt x="85" y="99"/>
                    <a:pt x="85"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4" name="Freeform 20">
              <a:extLst>
                <a:ext uri="{FF2B5EF4-FFF2-40B4-BE49-F238E27FC236}">
                  <a16:creationId xmlns:a16="http://schemas.microsoft.com/office/drawing/2014/main" id="{EEA96631-7CCE-49D6-A700-D76FF986E47F}"/>
                </a:ext>
              </a:extLst>
            </p:cNvPr>
            <p:cNvSpPr>
              <a:spLocks noEditPoints="1"/>
            </p:cNvSpPr>
            <p:nvPr/>
          </p:nvSpPr>
          <p:spPr bwMode="white">
            <a:xfrm>
              <a:off x="9880823" y="1410902"/>
              <a:ext cx="71912" cy="87602"/>
            </a:xfrm>
            <a:custGeom>
              <a:avLst/>
              <a:gdLst>
                <a:gd name="T0" fmla="*/ 105 w 105"/>
                <a:gd name="T1" fmla="*/ 64 h 129"/>
                <a:gd name="T2" fmla="*/ 103 w 105"/>
                <a:gd name="T3" fmla="*/ 85 h 129"/>
                <a:gd name="T4" fmla="*/ 96 w 105"/>
                <a:gd name="T5" fmla="*/ 101 h 129"/>
                <a:gd name="T6" fmla="*/ 85 w 105"/>
                <a:gd name="T7" fmla="*/ 114 h 129"/>
                <a:gd name="T8" fmla="*/ 71 w 105"/>
                <a:gd name="T9" fmla="*/ 122 h 129"/>
                <a:gd name="T10" fmla="*/ 55 w 105"/>
                <a:gd name="T11" fmla="*/ 128 h 129"/>
                <a:gd name="T12" fmla="*/ 39 w 105"/>
                <a:gd name="T13" fmla="*/ 129 h 129"/>
                <a:gd name="T14" fmla="*/ 0 w 105"/>
                <a:gd name="T15" fmla="*/ 129 h 129"/>
                <a:gd name="T16" fmla="*/ 0 w 105"/>
                <a:gd name="T17" fmla="*/ 0 h 129"/>
                <a:gd name="T18" fmla="*/ 41 w 105"/>
                <a:gd name="T19" fmla="*/ 0 h 129"/>
                <a:gd name="T20" fmla="*/ 67 w 105"/>
                <a:gd name="T21" fmla="*/ 3 h 129"/>
                <a:gd name="T22" fmla="*/ 87 w 105"/>
                <a:gd name="T23" fmla="*/ 14 h 129"/>
                <a:gd name="T24" fmla="*/ 100 w 105"/>
                <a:gd name="T25" fmla="*/ 34 h 129"/>
                <a:gd name="T26" fmla="*/ 105 w 105"/>
                <a:gd name="T27" fmla="*/ 64 h 129"/>
                <a:gd name="T28" fmla="*/ 79 w 105"/>
                <a:gd name="T29" fmla="*/ 64 h 129"/>
                <a:gd name="T30" fmla="*/ 76 w 105"/>
                <a:gd name="T31" fmla="*/ 47 h 129"/>
                <a:gd name="T32" fmla="*/ 70 w 105"/>
                <a:gd name="T33" fmla="*/ 35 h 129"/>
                <a:gd name="T34" fmla="*/ 58 w 105"/>
                <a:gd name="T35" fmla="*/ 27 h 129"/>
                <a:gd name="T36" fmla="*/ 40 w 105"/>
                <a:gd name="T37" fmla="*/ 25 h 129"/>
                <a:gd name="T38" fmla="*/ 26 w 105"/>
                <a:gd name="T39" fmla="*/ 25 h 129"/>
                <a:gd name="T40" fmla="*/ 26 w 105"/>
                <a:gd name="T41" fmla="*/ 104 h 129"/>
                <a:gd name="T42" fmla="*/ 39 w 105"/>
                <a:gd name="T43" fmla="*/ 104 h 129"/>
                <a:gd name="T44" fmla="*/ 57 w 105"/>
                <a:gd name="T45" fmla="*/ 101 h 129"/>
                <a:gd name="T46" fmla="*/ 69 w 105"/>
                <a:gd name="T47" fmla="*/ 93 h 129"/>
                <a:gd name="T48" fmla="*/ 76 w 105"/>
                <a:gd name="T49" fmla="*/ 81 h 129"/>
                <a:gd name="T50" fmla="*/ 79 w 105"/>
                <a:gd name="T51"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5" h="129">
                  <a:moveTo>
                    <a:pt x="105" y="64"/>
                  </a:moveTo>
                  <a:cubicBezTo>
                    <a:pt x="105" y="72"/>
                    <a:pt x="104" y="79"/>
                    <a:pt x="103" y="85"/>
                  </a:cubicBezTo>
                  <a:cubicBezTo>
                    <a:pt x="101" y="91"/>
                    <a:pt x="99" y="97"/>
                    <a:pt x="96" y="101"/>
                  </a:cubicBezTo>
                  <a:cubicBezTo>
                    <a:pt x="92" y="106"/>
                    <a:pt x="89" y="110"/>
                    <a:pt x="85" y="114"/>
                  </a:cubicBezTo>
                  <a:cubicBezTo>
                    <a:pt x="80" y="117"/>
                    <a:pt x="76" y="120"/>
                    <a:pt x="71" y="122"/>
                  </a:cubicBezTo>
                  <a:cubicBezTo>
                    <a:pt x="66" y="125"/>
                    <a:pt x="61" y="126"/>
                    <a:pt x="55" y="128"/>
                  </a:cubicBezTo>
                  <a:cubicBezTo>
                    <a:pt x="50" y="129"/>
                    <a:pt x="44" y="129"/>
                    <a:pt x="39" y="129"/>
                  </a:cubicBezTo>
                  <a:cubicBezTo>
                    <a:pt x="0" y="129"/>
                    <a:pt x="0" y="129"/>
                    <a:pt x="0" y="129"/>
                  </a:cubicBezTo>
                  <a:cubicBezTo>
                    <a:pt x="0" y="0"/>
                    <a:pt x="0" y="0"/>
                    <a:pt x="0" y="0"/>
                  </a:cubicBezTo>
                  <a:cubicBezTo>
                    <a:pt x="41" y="0"/>
                    <a:pt x="41" y="0"/>
                    <a:pt x="41" y="0"/>
                  </a:cubicBezTo>
                  <a:cubicBezTo>
                    <a:pt x="50" y="0"/>
                    <a:pt x="59" y="1"/>
                    <a:pt x="67" y="3"/>
                  </a:cubicBezTo>
                  <a:cubicBezTo>
                    <a:pt x="74" y="5"/>
                    <a:pt x="81" y="9"/>
                    <a:pt x="87" y="14"/>
                  </a:cubicBezTo>
                  <a:cubicBezTo>
                    <a:pt x="93" y="19"/>
                    <a:pt x="97" y="26"/>
                    <a:pt x="100" y="34"/>
                  </a:cubicBezTo>
                  <a:cubicBezTo>
                    <a:pt x="104" y="43"/>
                    <a:pt x="105" y="53"/>
                    <a:pt x="105" y="64"/>
                  </a:cubicBezTo>
                  <a:close/>
                  <a:moveTo>
                    <a:pt x="79" y="64"/>
                  </a:moveTo>
                  <a:cubicBezTo>
                    <a:pt x="79" y="58"/>
                    <a:pt x="78" y="52"/>
                    <a:pt x="76" y="47"/>
                  </a:cubicBezTo>
                  <a:cubicBezTo>
                    <a:pt x="75" y="42"/>
                    <a:pt x="73" y="38"/>
                    <a:pt x="70" y="35"/>
                  </a:cubicBezTo>
                  <a:cubicBezTo>
                    <a:pt x="66" y="31"/>
                    <a:pt x="62" y="29"/>
                    <a:pt x="58" y="27"/>
                  </a:cubicBezTo>
                  <a:cubicBezTo>
                    <a:pt x="53" y="26"/>
                    <a:pt x="47" y="25"/>
                    <a:pt x="40" y="25"/>
                  </a:cubicBezTo>
                  <a:cubicBezTo>
                    <a:pt x="26" y="25"/>
                    <a:pt x="26" y="25"/>
                    <a:pt x="26" y="25"/>
                  </a:cubicBezTo>
                  <a:cubicBezTo>
                    <a:pt x="26" y="104"/>
                    <a:pt x="26" y="104"/>
                    <a:pt x="26" y="104"/>
                  </a:cubicBezTo>
                  <a:cubicBezTo>
                    <a:pt x="39" y="104"/>
                    <a:pt x="39" y="104"/>
                    <a:pt x="39" y="104"/>
                  </a:cubicBezTo>
                  <a:cubicBezTo>
                    <a:pt x="46" y="104"/>
                    <a:pt x="52" y="103"/>
                    <a:pt x="57" y="101"/>
                  </a:cubicBezTo>
                  <a:cubicBezTo>
                    <a:pt x="62" y="99"/>
                    <a:pt x="66" y="97"/>
                    <a:pt x="69" y="93"/>
                  </a:cubicBezTo>
                  <a:cubicBezTo>
                    <a:pt x="72" y="90"/>
                    <a:pt x="75" y="85"/>
                    <a:pt x="76" y="81"/>
                  </a:cubicBezTo>
                  <a:cubicBezTo>
                    <a:pt x="78" y="76"/>
                    <a:pt x="79" y="70"/>
                    <a:pt x="79"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5" name="Freeform 21">
              <a:extLst>
                <a:ext uri="{FF2B5EF4-FFF2-40B4-BE49-F238E27FC236}">
                  <a16:creationId xmlns:a16="http://schemas.microsoft.com/office/drawing/2014/main" id="{4BB24B6E-8D3D-449A-850B-52F8A8EF40A7}"/>
                </a:ext>
              </a:extLst>
            </p:cNvPr>
            <p:cNvSpPr>
              <a:spLocks noEditPoints="1"/>
            </p:cNvSpPr>
            <p:nvPr/>
          </p:nvSpPr>
          <p:spPr bwMode="white">
            <a:xfrm>
              <a:off x="9964502" y="1430515"/>
              <a:ext cx="56222" cy="69297"/>
            </a:xfrm>
            <a:custGeom>
              <a:avLst/>
              <a:gdLst>
                <a:gd name="T0" fmla="*/ 84 w 84"/>
                <a:gd name="T1" fmla="*/ 51 h 101"/>
                <a:gd name="T2" fmla="*/ 84 w 84"/>
                <a:gd name="T3" fmla="*/ 55 h 101"/>
                <a:gd name="T4" fmla="*/ 84 w 84"/>
                <a:gd name="T5" fmla="*/ 59 h 101"/>
                <a:gd name="T6" fmla="*/ 26 w 84"/>
                <a:gd name="T7" fmla="*/ 59 h 101"/>
                <a:gd name="T8" fmla="*/ 28 w 84"/>
                <a:gd name="T9" fmla="*/ 67 h 101"/>
                <a:gd name="T10" fmla="*/ 32 w 84"/>
                <a:gd name="T11" fmla="*/ 73 h 101"/>
                <a:gd name="T12" fmla="*/ 39 w 84"/>
                <a:gd name="T13" fmla="*/ 76 h 101"/>
                <a:gd name="T14" fmla="*/ 46 w 84"/>
                <a:gd name="T15" fmla="*/ 77 h 101"/>
                <a:gd name="T16" fmla="*/ 50 w 84"/>
                <a:gd name="T17" fmla="*/ 77 h 101"/>
                <a:gd name="T18" fmla="*/ 55 w 84"/>
                <a:gd name="T19" fmla="*/ 75 h 101"/>
                <a:gd name="T20" fmla="*/ 59 w 84"/>
                <a:gd name="T21" fmla="*/ 73 h 101"/>
                <a:gd name="T22" fmla="*/ 62 w 84"/>
                <a:gd name="T23" fmla="*/ 70 h 101"/>
                <a:gd name="T24" fmla="*/ 80 w 84"/>
                <a:gd name="T25" fmla="*/ 85 h 101"/>
                <a:gd name="T26" fmla="*/ 74 w 84"/>
                <a:gd name="T27" fmla="*/ 92 h 101"/>
                <a:gd name="T28" fmla="*/ 65 w 84"/>
                <a:gd name="T29" fmla="*/ 97 h 101"/>
                <a:gd name="T30" fmla="*/ 55 w 84"/>
                <a:gd name="T31" fmla="*/ 100 h 101"/>
                <a:gd name="T32" fmla="*/ 46 w 84"/>
                <a:gd name="T33" fmla="*/ 101 h 101"/>
                <a:gd name="T34" fmla="*/ 31 w 84"/>
                <a:gd name="T35" fmla="*/ 99 h 101"/>
                <a:gd name="T36" fmla="*/ 20 w 84"/>
                <a:gd name="T37" fmla="*/ 94 h 101"/>
                <a:gd name="T38" fmla="*/ 12 w 84"/>
                <a:gd name="T39" fmla="*/ 87 h 101"/>
                <a:gd name="T40" fmla="*/ 5 w 84"/>
                <a:gd name="T41" fmla="*/ 77 h 101"/>
                <a:gd name="T42" fmla="*/ 1 w 84"/>
                <a:gd name="T43" fmla="*/ 65 h 101"/>
                <a:gd name="T44" fmla="*/ 0 w 84"/>
                <a:gd name="T45" fmla="*/ 51 h 101"/>
                <a:gd name="T46" fmla="*/ 3 w 84"/>
                <a:gd name="T47" fmla="*/ 30 h 101"/>
                <a:gd name="T48" fmla="*/ 12 w 84"/>
                <a:gd name="T49" fmla="*/ 14 h 101"/>
                <a:gd name="T50" fmla="*/ 26 w 84"/>
                <a:gd name="T51" fmla="*/ 4 h 101"/>
                <a:gd name="T52" fmla="*/ 43 w 84"/>
                <a:gd name="T53" fmla="*/ 0 h 101"/>
                <a:gd name="T54" fmla="*/ 61 w 84"/>
                <a:gd name="T55" fmla="*/ 4 h 101"/>
                <a:gd name="T56" fmla="*/ 73 w 84"/>
                <a:gd name="T57" fmla="*/ 15 h 101"/>
                <a:gd name="T58" fmla="*/ 81 w 84"/>
                <a:gd name="T59" fmla="*/ 31 h 101"/>
                <a:gd name="T60" fmla="*/ 84 w 84"/>
                <a:gd name="T61" fmla="*/ 51 h 101"/>
                <a:gd name="T62" fmla="*/ 59 w 84"/>
                <a:gd name="T63" fmla="*/ 40 h 101"/>
                <a:gd name="T64" fmla="*/ 58 w 84"/>
                <a:gd name="T65" fmla="*/ 33 h 101"/>
                <a:gd name="T66" fmla="*/ 55 w 84"/>
                <a:gd name="T67" fmla="*/ 28 h 101"/>
                <a:gd name="T68" fmla="*/ 49 w 84"/>
                <a:gd name="T69" fmla="*/ 24 h 101"/>
                <a:gd name="T70" fmla="*/ 42 w 84"/>
                <a:gd name="T71" fmla="*/ 22 h 101"/>
                <a:gd name="T72" fmla="*/ 36 w 84"/>
                <a:gd name="T73" fmla="*/ 24 h 101"/>
                <a:gd name="T74" fmla="*/ 31 w 84"/>
                <a:gd name="T75" fmla="*/ 27 h 101"/>
                <a:gd name="T76" fmla="*/ 28 w 84"/>
                <a:gd name="T77" fmla="*/ 33 h 101"/>
                <a:gd name="T78" fmla="*/ 26 w 84"/>
                <a:gd name="T79" fmla="*/ 40 h 101"/>
                <a:gd name="T80" fmla="*/ 59 w 84"/>
                <a:gd name="T81" fmla="*/ 4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101">
                  <a:moveTo>
                    <a:pt x="84" y="51"/>
                  </a:moveTo>
                  <a:cubicBezTo>
                    <a:pt x="84" y="52"/>
                    <a:pt x="84" y="54"/>
                    <a:pt x="84" y="55"/>
                  </a:cubicBezTo>
                  <a:cubicBezTo>
                    <a:pt x="84" y="57"/>
                    <a:pt x="84" y="58"/>
                    <a:pt x="84" y="59"/>
                  </a:cubicBezTo>
                  <a:cubicBezTo>
                    <a:pt x="26" y="59"/>
                    <a:pt x="26" y="59"/>
                    <a:pt x="26" y="59"/>
                  </a:cubicBezTo>
                  <a:cubicBezTo>
                    <a:pt x="26" y="62"/>
                    <a:pt x="27" y="65"/>
                    <a:pt x="28" y="67"/>
                  </a:cubicBezTo>
                  <a:cubicBezTo>
                    <a:pt x="29" y="70"/>
                    <a:pt x="31" y="71"/>
                    <a:pt x="32" y="73"/>
                  </a:cubicBezTo>
                  <a:cubicBezTo>
                    <a:pt x="34" y="74"/>
                    <a:pt x="36" y="75"/>
                    <a:pt x="39" y="76"/>
                  </a:cubicBezTo>
                  <a:cubicBezTo>
                    <a:pt x="41" y="77"/>
                    <a:pt x="43" y="77"/>
                    <a:pt x="46" y="77"/>
                  </a:cubicBezTo>
                  <a:cubicBezTo>
                    <a:pt x="47" y="77"/>
                    <a:pt x="49" y="77"/>
                    <a:pt x="50" y="77"/>
                  </a:cubicBezTo>
                  <a:cubicBezTo>
                    <a:pt x="52" y="76"/>
                    <a:pt x="54" y="76"/>
                    <a:pt x="55" y="75"/>
                  </a:cubicBezTo>
                  <a:cubicBezTo>
                    <a:pt x="57" y="75"/>
                    <a:pt x="58" y="74"/>
                    <a:pt x="59" y="73"/>
                  </a:cubicBezTo>
                  <a:cubicBezTo>
                    <a:pt x="60" y="72"/>
                    <a:pt x="61" y="71"/>
                    <a:pt x="62" y="70"/>
                  </a:cubicBezTo>
                  <a:cubicBezTo>
                    <a:pt x="80" y="85"/>
                    <a:pt x="80" y="85"/>
                    <a:pt x="80" y="85"/>
                  </a:cubicBezTo>
                  <a:cubicBezTo>
                    <a:pt x="78" y="88"/>
                    <a:pt x="76" y="90"/>
                    <a:pt x="74" y="92"/>
                  </a:cubicBezTo>
                  <a:cubicBezTo>
                    <a:pt x="71" y="94"/>
                    <a:pt x="68" y="96"/>
                    <a:pt x="65" y="97"/>
                  </a:cubicBezTo>
                  <a:cubicBezTo>
                    <a:pt x="62" y="98"/>
                    <a:pt x="59" y="99"/>
                    <a:pt x="55" y="100"/>
                  </a:cubicBezTo>
                  <a:cubicBezTo>
                    <a:pt x="52" y="101"/>
                    <a:pt x="49" y="101"/>
                    <a:pt x="46" y="101"/>
                  </a:cubicBezTo>
                  <a:cubicBezTo>
                    <a:pt x="40" y="101"/>
                    <a:pt x="35" y="101"/>
                    <a:pt x="31" y="99"/>
                  </a:cubicBezTo>
                  <a:cubicBezTo>
                    <a:pt x="27" y="98"/>
                    <a:pt x="23" y="96"/>
                    <a:pt x="20" y="94"/>
                  </a:cubicBezTo>
                  <a:cubicBezTo>
                    <a:pt x="17" y="92"/>
                    <a:pt x="14" y="89"/>
                    <a:pt x="12" y="87"/>
                  </a:cubicBezTo>
                  <a:cubicBezTo>
                    <a:pt x="9" y="84"/>
                    <a:pt x="7" y="80"/>
                    <a:pt x="5" y="77"/>
                  </a:cubicBezTo>
                  <a:cubicBezTo>
                    <a:pt x="4" y="73"/>
                    <a:pt x="2" y="69"/>
                    <a:pt x="1" y="65"/>
                  </a:cubicBezTo>
                  <a:cubicBezTo>
                    <a:pt x="0" y="61"/>
                    <a:pt x="0" y="56"/>
                    <a:pt x="0" y="51"/>
                  </a:cubicBezTo>
                  <a:cubicBezTo>
                    <a:pt x="0" y="43"/>
                    <a:pt x="1" y="36"/>
                    <a:pt x="3" y="30"/>
                  </a:cubicBezTo>
                  <a:cubicBezTo>
                    <a:pt x="5" y="24"/>
                    <a:pt x="8" y="19"/>
                    <a:pt x="12" y="14"/>
                  </a:cubicBezTo>
                  <a:cubicBezTo>
                    <a:pt x="16" y="10"/>
                    <a:pt x="21" y="6"/>
                    <a:pt x="26" y="4"/>
                  </a:cubicBezTo>
                  <a:cubicBezTo>
                    <a:pt x="31" y="1"/>
                    <a:pt x="37" y="0"/>
                    <a:pt x="43" y="0"/>
                  </a:cubicBezTo>
                  <a:cubicBezTo>
                    <a:pt x="50" y="0"/>
                    <a:pt x="55" y="1"/>
                    <a:pt x="61" y="4"/>
                  </a:cubicBezTo>
                  <a:cubicBezTo>
                    <a:pt x="66" y="7"/>
                    <a:pt x="70" y="10"/>
                    <a:pt x="73" y="15"/>
                  </a:cubicBezTo>
                  <a:cubicBezTo>
                    <a:pt x="77" y="19"/>
                    <a:pt x="79" y="25"/>
                    <a:pt x="81" y="31"/>
                  </a:cubicBezTo>
                  <a:cubicBezTo>
                    <a:pt x="83" y="37"/>
                    <a:pt x="84" y="44"/>
                    <a:pt x="84" y="51"/>
                  </a:cubicBezTo>
                  <a:close/>
                  <a:moveTo>
                    <a:pt x="59" y="40"/>
                  </a:moveTo>
                  <a:cubicBezTo>
                    <a:pt x="59" y="37"/>
                    <a:pt x="59" y="35"/>
                    <a:pt x="58" y="33"/>
                  </a:cubicBezTo>
                  <a:cubicBezTo>
                    <a:pt x="57" y="31"/>
                    <a:pt x="56" y="29"/>
                    <a:pt x="55" y="28"/>
                  </a:cubicBezTo>
                  <a:cubicBezTo>
                    <a:pt x="53" y="26"/>
                    <a:pt x="51" y="25"/>
                    <a:pt x="49" y="24"/>
                  </a:cubicBezTo>
                  <a:cubicBezTo>
                    <a:pt x="47" y="23"/>
                    <a:pt x="45" y="22"/>
                    <a:pt x="42" y="22"/>
                  </a:cubicBezTo>
                  <a:cubicBezTo>
                    <a:pt x="40" y="22"/>
                    <a:pt x="37" y="23"/>
                    <a:pt x="36" y="24"/>
                  </a:cubicBezTo>
                  <a:cubicBezTo>
                    <a:pt x="34" y="24"/>
                    <a:pt x="32" y="26"/>
                    <a:pt x="31" y="27"/>
                  </a:cubicBezTo>
                  <a:cubicBezTo>
                    <a:pt x="29" y="29"/>
                    <a:pt x="28" y="31"/>
                    <a:pt x="28" y="33"/>
                  </a:cubicBezTo>
                  <a:cubicBezTo>
                    <a:pt x="27" y="35"/>
                    <a:pt x="26" y="37"/>
                    <a:pt x="26" y="40"/>
                  </a:cubicBezTo>
                  <a:lnTo>
                    <a:pt x="59"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6" name="Freeform 22">
              <a:extLst>
                <a:ext uri="{FF2B5EF4-FFF2-40B4-BE49-F238E27FC236}">
                  <a16:creationId xmlns:a16="http://schemas.microsoft.com/office/drawing/2014/main" id="{767CA49F-CF78-4517-9D40-459A6165DB66}"/>
                </a:ext>
              </a:extLst>
            </p:cNvPr>
            <p:cNvSpPr>
              <a:spLocks/>
            </p:cNvSpPr>
            <p:nvPr/>
          </p:nvSpPr>
          <p:spPr bwMode="white">
            <a:xfrm>
              <a:off x="10035106" y="1431822"/>
              <a:ext cx="57529" cy="67989"/>
            </a:xfrm>
            <a:custGeom>
              <a:avLst/>
              <a:gdLst>
                <a:gd name="T0" fmla="*/ 58 w 84"/>
                <a:gd name="T1" fmla="*/ 97 h 99"/>
                <a:gd name="T2" fmla="*/ 58 w 84"/>
                <a:gd name="T3" fmla="*/ 91 h 99"/>
                <a:gd name="T4" fmla="*/ 49 w 84"/>
                <a:gd name="T5" fmla="*/ 97 h 99"/>
                <a:gd name="T6" fmla="*/ 35 w 84"/>
                <a:gd name="T7" fmla="*/ 99 h 99"/>
                <a:gd name="T8" fmla="*/ 9 w 84"/>
                <a:gd name="T9" fmla="*/ 88 h 99"/>
                <a:gd name="T10" fmla="*/ 0 w 84"/>
                <a:gd name="T11" fmla="*/ 55 h 99"/>
                <a:gd name="T12" fmla="*/ 0 w 84"/>
                <a:gd name="T13" fmla="*/ 0 h 99"/>
                <a:gd name="T14" fmla="*/ 25 w 84"/>
                <a:gd name="T15" fmla="*/ 0 h 99"/>
                <a:gd name="T16" fmla="*/ 25 w 84"/>
                <a:gd name="T17" fmla="*/ 52 h 99"/>
                <a:gd name="T18" fmla="*/ 29 w 84"/>
                <a:gd name="T19" fmla="*/ 70 h 99"/>
                <a:gd name="T20" fmla="*/ 42 w 84"/>
                <a:gd name="T21" fmla="*/ 75 h 99"/>
                <a:gd name="T22" fmla="*/ 54 w 84"/>
                <a:gd name="T23" fmla="*/ 70 h 99"/>
                <a:gd name="T24" fmla="*/ 58 w 84"/>
                <a:gd name="T25" fmla="*/ 53 h 99"/>
                <a:gd name="T26" fmla="*/ 58 w 84"/>
                <a:gd name="T27" fmla="*/ 0 h 99"/>
                <a:gd name="T28" fmla="*/ 84 w 84"/>
                <a:gd name="T29" fmla="*/ 0 h 99"/>
                <a:gd name="T30" fmla="*/ 84 w 84"/>
                <a:gd name="T31" fmla="*/ 97 h 99"/>
                <a:gd name="T32" fmla="*/ 58 w 84"/>
                <a:gd name="T33"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99">
                  <a:moveTo>
                    <a:pt x="58" y="97"/>
                  </a:moveTo>
                  <a:cubicBezTo>
                    <a:pt x="58" y="91"/>
                    <a:pt x="58" y="91"/>
                    <a:pt x="58" y="91"/>
                  </a:cubicBezTo>
                  <a:cubicBezTo>
                    <a:pt x="56" y="93"/>
                    <a:pt x="53" y="95"/>
                    <a:pt x="49" y="97"/>
                  </a:cubicBezTo>
                  <a:cubicBezTo>
                    <a:pt x="45" y="98"/>
                    <a:pt x="41" y="99"/>
                    <a:pt x="35" y="99"/>
                  </a:cubicBezTo>
                  <a:cubicBezTo>
                    <a:pt x="24" y="99"/>
                    <a:pt x="15" y="95"/>
                    <a:pt x="9" y="88"/>
                  </a:cubicBezTo>
                  <a:cubicBezTo>
                    <a:pt x="3" y="80"/>
                    <a:pt x="0" y="69"/>
                    <a:pt x="0" y="55"/>
                  </a:cubicBezTo>
                  <a:cubicBezTo>
                    <a:pt x="0" y="0"/>
                    <a:pt x="0" y="0"/>
                    <a:pt x="0" y="0"/>
                  </a:cubicBezTo>
                  <a:cubicBezTo>
                    <a:pt x="25" y="0"/>
                    <a:pt x="25" y="0"/>
                    <a:pt x="25" y="0"/>
                  </a:cubicBezTo>
                  <a:cubicBezTo>
                    <a:pt x="25" y="52"/>
                    <a:pt x="25" y="52"/>
                    <a:pt x="25" y="52"/>
                  </a:cubicBezTo>
                  <a:cubicBezTo>
                    <a:pt x="25" y="60"/>
                    <a:pt x="26" y="66"/>
                    <a:pt x="29" y="70"/>
                  </a:cubicBezTo>
                  <a:cubicBezTo>
                    <a:pt x="31" y="73"/>
                    <a:pt x="36" y="75"/>
                    <a:pt x="42" y="75"/>
                  </a:cubicBezTo>
                  <a:cubicBezTo>
                    <a:pt x="48" y="75"/>
                    <a:pt x="52" y="73"/>
                    <a:pt x="54" y="70"/>
                  </a:cubicBezTo>
                  <a:cubicBezTo>
                    <a:pt x="57" y="66"/>
                    <a:pt x="58" y="60"/>
                    <a:pt x="58" y="53"/>
                  </a:cubicBezTo>
                  <a:cubicBezTo>
                    <a:pt x="58" y="0"/>
                    <a:pt x="58" y="0"/>
                    <a:pt x="58" y="0"/>
                  </a:cubicBezTo>
                  <a:cubicBezTo>
                    <a:pt x="84" y="0"/>
                    <a:pt x="84" y="0"/>
                    <a:pt x="84" y="0"/>
                  </a:cubicBezTo>
                  <a:cubicBezTo>
                    <a:pt x="84" y="97"/>
                    <a:pt x="84" y="97"/>
                    <a:pt x="84" y="97"/>
                  </a:cubicBezTo>
                  <a:lnTo>
                    <a:pt x="58" y="9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7" name="Freeform 23">
              <a:extLst>
                <a:ext uri="{FF2B5EF4-FFF2-40B4-BE49-F238E27FC236}">
                  <a16:creationId xmlns:a16="http://schemas.microsoft.com/office/drawing/2014/main" id="{BCE97B83-65DD-49DB-AC39-56BB28ACA966}"/>
                </a:ext>
              </a:extLst>
            </p:cNvPr>
            <p:cNvSpPr>
              <a:spLocks/>
            </p:cNvSpPr>
            <p:nvPr/>
          </p:nvSpPr>
          <p:spPr bwMode="white">
            <a:xfrm>
              <a:off x="10104403" y="1406980"/>
              <a:ext cx="43148" cy="92832"/>
            </a:xfrm>
            <a:custGeom>
              <a:avLst/>
              <a:gdLst>
                <a:gd name="T0" fmla="*/ 62 w 65"/>
                <a:gd name="T1" fmla="*/ 131 h 137"/>
                <a:gd name="T2" fmla="*/ 53 w 65"/>
                <a:gd name="T3" fmla="*/ 135 h 137"/>
                <a:gd name="T4" fmla="*/ 42 w 65"/>
                <a:gd name="T5" fmla="*/ 137 h 137"/>
                <a:gd name="T6" fmla="*/ 31 w 65"/>
                <a:gd name="T7" fmla="*/ 135 h 137"/>
                <a:gd name="T8" fmla="*/ 23 w 65"/>
                <a:gd name="T9" fmla="*/ 129 h 137"/>
                <a:gd name="T10" fmla="*/ 18 w 65"/>
                <a:gd name="T11" fmla="*/ 120 h 137"/>
                <a:gd name="T12" fmla="*/ 16 w 65"/>
                <a:gd name="T13" fmla="*/ 108 h 137"/>
                <a:gd name="T14" fmla="*/ 16 w 65"/>
                <a:gd name="T15" fmla="*/ 62 h 137"/>
                <a:gd name="T16" fmla="*/ 0 w 65"/>
                <a:gd name="T17" fmla="*/ 62 h 137"/>
                <a:gd name="T18" fmla="*/ 0 w 65"/>
                <a:gd name="T19" fmla="*/ 38 h 137"/>
                <a:gd name="T20" fmla="*/ 16 w 65"/>
                <a:gd name="T21" fmla="*/ 38 h 137"/>
                <a:gd name="T22" fmla="*/ 16 w 65"/>
                <a:gd name="T23" fmla="*/ 13 h 137"/>
                <a:gd name="T24" fmla="*/ 42 w 65"/>
                <a:gd name="T25" fmla="*/ 0 h 137"/>
                <a:gd name="T26" fmla="*/ 42 w 65"/>
                <a:gd name="T27" fmla="*/ 38 h 137"/>
                <a:gd name="T28" fmla="*/ 65 w 65"/>
                <a:gd name="T29" fmla="*/ 38 h 137"/>
                <a:gd name="T30" fmla="*/ 65 w 65"/>
                <a:gd name="T31" fmla="*/ 62 h 137"/>
                <a:gd name="T32" fmla="*/ 42 w 65"/>
                <a:gd name="T33" fmla="*/ 62 h 137"/>
                <a:gd name="T34" fmla="*/ 42 w 65"/>
                <a:gd name="T35" fmla="*/ 101 h 137"/>
                <a:gd name="T36" fmla="*/ 42 w 65"/>
                <a:gd name="T37" fmla="*/ 107 h 137"/>
                <a:gd name="T38" fmla="*/ 44 w 65"/>
                <a:gd name="T39" fmla="*/ 110 h 137"/>
                <a:gd name="T40" fmla="*/ 47 w 65"/>
                <a:gd name="T41" fmla="*/ 112 h 137"/>
                <a:gd name="T42" fmla="*/ 51 w 65"/>
                <a:gd name="T43" fmla="*/ 113 h 137"/>
                <a:gd name="T44" fmla="*/ 58 w 65"/>
                <a:gd name="T45" fmla="*/ 111 h 137"/>
                <a:gd name="T46" fmla="*/ 65 w 65"/>
                <a:gd name="T47" fmla="*/ 105 h 137"/>
                <a:gd name="T48" fmla="*/ 62 w 6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37">
                  <a:moveTo>
                    <a:pt x="62" y="131"/>
                  </a:moveTo>
                  <a:cubicBezTo>
                    <a:pt x="60" y="133"/>
                    <a:pt x="57" y="134"/>
                    <a:pt x="53" y="135"/>
                  </a:cubicBezTo>
                  <a:cubicBezTo>
                    <a:pt x="50" y="137"/>
                    <a:pt x="46" y="137"/>
                    <a:pt x="42" y="137"/>
                  </a:cubicBezTo>
                  <a:cubicBezTo>
                    <a:pt x="38" y="137"/>
                    <a:pt x="34" y="136"/>
                    <a:pt x="31" y="135"/>
                  </a:cubicBezTo>
                  <a:cubicBezTo>
                    <a:pt x="28" y="134"/>
                    <a:pt x="25" y="132"/>
                    <a:pt x="23" y="129"/>
                  </a:cubicBezTo>
                  <a:cubicBezTo>
                    <a:pt x="21" y="126"/>
                    <a:pt x="19" y="123"/>
                    <a:pt x="18" y="120"/>
                  </a:cubicBezTo>
                  <a:cubicBezTo>
                    <a:pt x="17" y="116"/>
                    <a:pt x="16" y="112"/>
                    <a:pt x="16" y="108"/>
                  </a:cubicBezTo>
                  <a:cubicBezTo>
                    <a:pt x="16" y="62"/>
                    <a:pt x="16" y="62"/>
                    <a:pt x="16" y="62"/>
                  </a:cubicBezTo>
                  <a:cubicBezTo>
                    <a:pt x="0" y="62"/>
                    <a:pt x="0" y="62"/>
                    <a:pt x="0" y="62"/>
                  </a:cubicBezTo>
                  <a:cubicBezTo>
                    <a:pt x="0" y="38"/>
                    <a:pt x="0" y="38"/>
                    <a:pt x="0" y="38"/>
                  </a:cubicBezTo>
                  <a:cubicBezTo>
                    <a:pt x="16" y="38"/>
                    <a:pt x="16" y="38"/>
                    <a:pt x="16" y="38"/>
                  </a:cubicBezTo>
                  <a:cubicBezTo>
                    <a:pt x="16" y="13"/>
                    <a:pt x="16" y="13"/>
                    <a:pt x="16" y="13"/>
                  </a:cubicBezTo>
                  <a:cubicBezTo>
                    <a:pt x="42" y="0"/>
                    <a:pt x="42" y="0"/>
                    <a:pt x="42" y="0"/>
                  </a:cubicBezTo>
                  <a:cubicBezTo>
                    <a:pt x="42" y="38"/>
                    <a:pt x="42" y="38"/>
                    <a:pt x="42" y="38"/>
                  </a:cubicBezTo>
                  <a:cubicBezTo>
                    <a:pt x="65" y="38"/>
                    <a:pt x="65" y="38"/>
                    <a:pt x="65" y="38"/>
                  </a:cubicBezTo>
                  <a:cubicBezTo>
                    <a:pt x="65" y="62"/>
                    <a:pt x="65" y="62"/>
                    <a:pt x="65" y="62"/>
                  </a:cubicBezTo>
                  <a:cubicBezTo>
                    <a:pt x="42" y="62"/>
                    <a:pt x="42" y="62"/>
                    <a:pt x="42" y="62"/>
                  </a:cubicBezTo>
                  <a:cubicBezTo>
                    <a:pt x="42" y="101"/>
                    <a:pt x="42" y="101"/>
                    <a:pt x="42" y="101"/>
                  </a:cubicBezTo>
                  <a:cubicBezTo>
                    <a:pt x="42" y="103"/>
                    <a:pt x="42" y="105"/>
                    <a:pt x="42" y="107"/>
                  </a:cubicBezTo>
                  <a:cubicBezTo>
                    <a:pt x="43" y="108"/>
                    <a:pt x="43" y="110"/>
                    <a:pt x="44" y="110"/>
                  </a:cubicBezTo>
                  <a:cubicBezTo>
                    <a:pt x="45" y="111"/>
                    <a:pt x="46" y="112"/>
                    <a:pt x="47" y="112"/>
                  </a:cubicBezTo>
                  <a:cubicBezTo>
                    <a:pt x="48" y="113"/>
                    <a:pt x="49" y="113"/>
                    <a:pt x="51" y="113"/>
                  </a:cubicBezTo>
                  <a:cubicBezTo>
                    <a:pt x="53" y="113"/>
                    <a:pt x="55" y="112"/>
                    <a:pt x="58" y="111"/>
                  </a:cubicBezTo>
                  <a:cubicBezTo>
                    <a:pt x="60" y="110"/>
                    <a:pt x="62" y="108"/>
                    <a:pt x="65" y="105"/>
                  </a:cubicBezTo>
                  <a:lnTo>
                    <a:pt x="62" y="13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8" name="Freeform 24">
              <a:extLst>
                <a:ext uri="{FF2B5EF4-FFF2-40B4-BE49-F238E27FC236}">
                  <a16:creationId xmlns:a16="http://schemas.microsoft.com/office/drawing/2014/main" id="{3A70ECD6-5CB1-4ABC-BD20-5CD3C4FFDF5E}"/>
                </a:ext>
              </a:extLst>
            </p:cNvPr>
            <p:cNvSpPr>
              <a:spLocks/>
            </p:cNvSpPr>
            <p:nvPr/>
          </p:nvSpPr>
          <p:spPr bwMode="white">
            <a:xfrm>
              <a:off x="10160625" y="1430515"/>
              <a:ext cx="56222" cy="69297"/>
            </a:xfrm>
            <a:custGeom>
              <a:avLst/>
              <a:gdLst>
                <a:gd name="T0" fmla="*/ 78 w 81"/>
                <a:gd name="T1" fmla="*/ 9 h 101"/>
                <a:gd name="T2" fmla="*/ 70 w 81"/>
                <a:gd name="T3" fmla="*/ 30 h 101"/>
                <a:gd name="T4" fmla="*/ 55 w 81"/>
                <a:gd name="T5" fmla="*/ 24 h 101"/>
                <a:gd name="T6" fmla="*/ 41 w 81"/>
                <a:gd name="T7" fmla="*/ 22 h 101"/>
                <a:gd name="T8" fmla="*/ 31 w 81"/>
                <a:gd name="T9" fmla="*/ 23 h 101"/>
                <a:gd name="T10" fmla="*/ 28 w 81"/>
                <a:gd name="T11" fmla="*/ 28 h 101"/>
                <a:gd name="T12" fmla="*/ 29 w 81"/>
                <a:gd name="T13" fmla="*/ 31 h 101"/>
                <a:gd name="T14" fmla="*/ 32 w 81"/>
                <a:gd name="T15" fmla="*/ 33 h 101"/>
                <a:gd name="T16" fmla="*/ 38 w 81"/>
                <a:gd name="T17" fmla="*/ 36 h 101"/>
                <a:gd name="T18" fmla="*/ 48 w 81"/>
                <a:gd name="T19" fmla="*/ 39 h 101"/>
                <a:gd name="T20" fmla="*/ 61 w 81"/>
                <a:gd name="T21" fmla="*/ 44 h 101"/>
                <a:gd name="T22" fmla="*/ 71 w 81"/>
                <a:gd name="T23" fmla="*/ 50 h 101"/>
                <a:gd name="T24" fmla="*/ 78 w 81"/>
                <a:gd name="T25" fmla="*/ 59 h 101"/>
                <a:gd name="T26" fmla="*/ 81 w 81"/>
                <a:gd name="T27" fmla="*/ 71 h 101"/>
                <a:gd name="T28" fmla="*/ 78 w 81"/>
                <a:gd name="T29" fmla="*/ 85 h 101"/>
                <a:gd name="T30" fmla="*/ 69 w 81"/>
                <a:gd name="T31" fmla="*/ 94 h 101"/>
                <a:gd name="T32" fmla="*/ 57 w 81"/>
                <a:gd name="T33" fmla="*/ 100 h 101"/>
                <a:gd name="T34" fmla="*/ 41 w 81"/>
                <a:gd name="T35" fmla="*/ 101 h 101"/>
                <a:gd name="T36" fmla="*/ 19 w 81"/>
                <a:gd name="T37" fmla="*/ 98 h 101"/>
                <a:gd name="T38" fmla="*/ 0 w 81"/>
                <a:gd name="T39" fmla="*/ 90 h 101"/>
                <a:gd name="T40" fmla="*/ 9 w 81"/>
                <a:gd name="T41" fmla="*/ 70 h 101"/>
                <a:gd name="T42" fmla="*/ 25 w 81"/>
                <a:gd name="T43" fmla="*/ 77 h 101"/>
                <a:gd name="T44" fmla="*/ 43 w 81"/>
                <a:gd name="T45" fmla="*/ 79 h 101"/>
                <a:gd name="T46" fmla="*/ 53 w 81"/>
                <a:gd name="T47" fmla="*/ 78 h 101"/>
                <a:gd name="T48" fmla="*/ 56 w 81"/>
                <a:gd name="T49" fmla="*/ 72 h 101"/>
                <a:gd name="T50" fmla="*/ 55 w 81"/>
                <a:gd name="T51" fmla="*/ 69 h 101"/>
                <a:gd name="T52" fmla="*/ 53 w 81"/>
                <a:gd name="T53" fmla="*/ 67 h 101"/>
                <a:gd name="T54" fmla="*/ 48 w 81"/>
                <a:gd name="T55" fmla="*/ 64 h 101"/>
                <a:gd name="T56" fmla="*/ 41 w 81"/>
                <a:gd name="T57" fmla="*/ 62 h 101"/>
                <a:gd name="T58" fmla="*/ 26 w 81"/>
                <a:gd name="T59" fmla="*/ 57 h 101"/>
                <a:gd name="T60" fmla="*/ 13 w 81"/>
                <a:gd name="T61" fmla="*/ 51 h 101"/>
                <a:gd name="T62" fmla="*/ 6 w 81"/>
                <a:gd name="T63" fmla="*/ 42 h 101"/>
                <a:gd name="T64" fmla="*/ 3 w 81"/>
                <a:gd name="T65" fmla="*/ 29 h 101"/>
                <a:gd name="T66" fmla="*/ 6 w 81"/>
                <a:gd name="T67" fmla="*/ 16 h 101"/>
                <a:gd name="T68" fmla="*/ 14 w 81"/>
                <a:gd name="T69" fmla="*/ 7 h 101"/>
                <a:gd name="T70" fmla="*/ 26 w 81"/>
                <a:gd name="T71" fmla="*/ 2 h 101"/>
                <a:gd name="T72" fmla="*/ 42 w 81"/>
                <a:gd name="T73" fmla="*/ 0 h 101"/>
                <a:gd name="T74" fmla="*/ 61 w 81"/>
                <a:gd name="T75" fmla="*/ 3 h 101"/>
                <a:gd name="T76" fmla="*/ 78 w 81"/>
                <a:gd name="T77"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1" h="101">
                  <a:moveTo>
                    <a:pt x="78" y="9"/>
                  </a:moveTo>
                  <a:cubicBezTo>
                    <a:pt x="70" y="30"/>
                    <a:pt x="70" y="30"/>
                    <a:pt x="70" y="30"/>
                  </a:cubicBezTo>
                  <a:cubicBezTo>
                    <a:pt x="65" y="27"/>
                    <a:pt x="60" y="25"/>
                    <a:pt x="55" y="24"/>
                  </a:cubicBezTo>
                  <a:cubicBezTo>
                    <a:pt x="50" y="22"/>
                    <a:pt x="45" y="22"/>
                    <a:pt x="41" y="22"/>
                  </a:cubicBezTo>
                  <a:cubicBezTo>
                    <a:pt x="37" y="22"/>
                    <a:pt x="34" y="22"/>
                    <a:pt x="31" y="23"/>
                  </a:cubicBezTo>
                  <a:cubicBezTo>
                    <a:pt x="29" y="24"/>
                    <a:pt x="28" y="26"/>
                    <a:pt x="28" y="28"/>
                  </a:cubicBezTo>
                  <a:cubicBezTo>
                    <a:pt x="28" y="29"/>
                    <a:pt x="29" y="30"/>
                    <a:pt x="29" y="31"/>
                  </a:cubicBezTo>
                  <a:cubicBezTo>
                    <a:pt x="29" y="32"/>
                    <a:pt x="30" y="32"/>
                    <a:pt x="32" y="33"/>
                  </a:cubicBezTo>
                  <a:cubicBezTo>
                    <a:pt x="33" y="34"/>
                    <a:pt x="35" y="35"/>
                    <a:pt x="38" y="36"/>
                  </a:cubicBezTo>
                  <a:cubicBezTo>
                    <a:pt x="41" y="37"/>
                    <a:pt x="44" y="38"/>
                    <a:pt x="48" y="39"/>
                  </a:cubicBezTo>
                  <a:cubicBezTo>
                    <a:pt x="53" y="41"/>
                    <a:pt x="57" y="42"/>
                    <a:pt x="61" y="44"/>
                  </a:cubicBezTo>
                  <a:cubicBezTo>
                    <a:pt x="65" y="46"/>
                    <a:pt x="68" y="48"/>
                    <a:pt x="71" y="50"/>
                  </a:cubicBezTo>
                  <a:cubicBezTo>
                    <a:pt x="74" y="52"/>
                    <a:pt x="76" y="55"/>
                    <a:pt x="78" y="59"/>
                  </a:cubicBezTo>
                  <a:cubicBezTo>
                    <a:pt x="80" y="62"/>
                    <a:pt x="81" y="66"/>
                    <a:pt x="81" y="71"/>
                  </a:cubicBezTo>
                  <a:cubicBezTo>
                    <a:pt x="81" y="76"/>
                    <a:pt x="80" y="81"/>
                    <a:pt x="78" y="85"/>
                  </a:cubicBezTo>
                  <a:cubicBezTo>
                    <a:pt x="76" y="89"/>
                    <a:pt x="73" y="92"/>
                    <a:pt x="69" y="94"/>
                  </a:cubicBezTo>
                  <a:cubicBezTo>
                    <a:pt x="66" y="97"/>
                    <a:pt x="61" y="98"/>
                    <a:pt x="57" y="100"/>
                  </a:cubicBezTo>
                  <a:cubicBezTo>
                    <a:pt x="52" y="101"/>
                    <a:pt x="47" y="101"/>
                    <a:pt x="41" y="101"/>
                  </a:cubicBezTo>
                  <a:cubicBezTo>
                    <a:pt x="34" y="101"/>
                    <a:pt x="26" y="100"/>
                    <a:pt x="19" y="98"/>
                  </a:cubicBezTo>
                  <a:cubicBezTo>
                    <a:pt x="12" y="96"/>
                    <a:pt x="6" y="93"/>
                    <a:pt x="0" y="90"/>
                  </a:cubicBezTo>
                  <a:cubicBezTo>
                    <a:pt x="9" y="70"/>
                    <a:pt x="9" y="70"/>
                    <a:pt x="9" y="70"/>
                  </a:cubicBezTo>
                  <a:cubicBezTo>
                    <a:pt x="14" y="73"/>
                    <a:pt x="20" y="76"/>
                    <a:pt x="25" y="77"/>
                  </a:cubicBezTo>
                  <a:cubicBezTo>
                    <a:pt x="31" y="79"/>
                    <a:pt x="36" y="79"/>
                    <a:pt x="43" y="79"/>
                  </a:cubicBezTo>
                  <a:cubicBezTo>
                    <a:pt x="47" y="79"/>
                    <a:pt x="51" y="79"/>
                    <a:pt x="53" y="78"/>
                  </a:cubicBezTo>
                  <a:cubicBezTo>
                    <a:pt x="55" y="76"/>
                    <a:pt x="56" y="75"/>
                    <a:pt x="56" y="72"/>
                  </a:cubicBezTo>
                  <a:cubicBezTo>
                    <a:pt x="56" y="71"/>
                    <a:pt x="55" y="70"/>
                    <a:pt x="55" y="69"/>
                  </a:cubicBezTo>
                  <a:cubicBezTo>
                    <a:pt x="54" y="68"/>
                    <a:pt x="54" y="67"/>
                    <a:pt x="53" y="67"/>
                  </a:cubicBezTo>
                  <a:cubicBezTo>
                    <a:pt x="51" y="66"/>
                    <a:pt x="50" y="65"/>
                    <a:pt x="48" y="64"/>
                  </a:cubicBezTo>
                  <a:cubicBezTo>
                    <a:pt x="46" y="64"/>
                    <a:pt x="44" y="63"/>
                    <a:pt x="41" y="62"/>
                  </a:cubicBezTo>
                  <a:cubicBezTo>
                    <a:pt x="36" y="60"/>
                    <a:pt x="30" y="59"/>
                    <a:pt x="26" y="57"/>
                  </a:cubicBezTo>
                  <a:cubicBezTo>
                    <a:pt x="21" y="55"/>
                    <a:pt x="17" y="53"/>
                    <a:pt x="13" y="51"/>
                  </a:cubicBezTo>
                  <a:cubicBezTo>
                    <a:pt x="10" y="48"/>
                    <a:pt x="8" y="45"/>
                    <a:pt x="6" y="42"/>
                  </a:cubicBezTo>
                  <a:cubicBezTo>
                    <a:pt x="4" y="38"/>
                    <a:pt x="3" y="34"/>
                    <a:pt x="3" y="29"/>
                  </a:cubicBezTo>
                  <a:cubicBezTo>
                    <a:pt x="3" y="24"/>
                    <a:pt x="4" y="19"/>
                    <a:pt x="6" y="16"/>
                  </a:cubicBezTo>
                  <a:cubicBezTo>
                    <a:pt x="8" y="12"/>
                    <a:pt x="10" y="9"/>
                    <a:pt x="14" y="7"/>
                  </a:cubicBezTo>
                  <a:cubicBezTo>
                    <a:pt x="17" y="4"/>
                    <a:pt x="21" y="3"/>
                    <a:pt x="26" y="2"/>
                  </a:cubicBezTo>
                  <a:cubicBezTo>
                    <a:pt x="31" y="0"/>
                    <a:pt x="36" y="0"/>
                    <a:pt x="42" y="0"/>
                  </a:cubicBezTo>
                  <a:cubicBezTo>
                    <a:pt x="48" y="0"/>
                    <a:pt x="54" y="1"/>
                    <a:pt x="61" y="3"/>
                  </a:cubicBezTo>
                  <a:cubicBezTo>
                    <a:pt x="67" y="4"/>
                    <a:pt x="73" y="7"/>
                    <a:pt x="78"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9" name="Freeform 25">
              <a:extLst>
                <a:ext uri="{FF2B5EF4-FFF2-40B4-BE49-F238E27FC236}">
                  <a16:creationId xmlns:a16="http://schemas.microsoft.com/office/drawing/2014/main" id="{5A85C156-A249-4B2C-8A44-A8D8A3A0EEFE}"/>
                </a:ext>
              </a:extLst>
            </p:cNvPr>
            <p:cNvSpPr>
              <a:spLocks/>
            </p:cNvSpPr>
            <p:nvPr/>
          </p:nvSpPr>
          <p:spPr bwMode="white">
            <a:xfrm>
              <a:off x="10226000" y="1430515"/>
              <a:ext cx="58837" cy="69297"/>
            </a:xfrm>
            <a:custGeom>
              <a:avLst/>
              <a:gdLst>
                <a:gd name="T0" fmla="*/ 85 w 85"/>
                <a:gd name="T1" fmla="*/ 80 h 101"/>
                <a:gd name="T2" fmla="*/ 77 w 85"/>
                <a:gd name="T3" fmla="*/ 88 h 101"/>
                <a:gd name="T4" fmla="*/ 69 w 85"/>
                <a:gd name="T5" fmla="*/ 95 h 101"/>
                <a:gd name="T6" fmla="*/ 58 w 85"/>
                <a:gd name="T7" fmla="*/ 100 h 101"/>
                <a:gd name="T8" fmla="*/ 45 w 85"/>
                <a:gd name="T9" fmla="*/ 101 h 101"/>
                <a:gd name="T10" fmla="*/ 27 w 85"/>
                <a:gd name="T11" fmla="*/ 98 h 101"/>
                <a:gd name="T12" fmla="*/ 13 w 85"/>
                <a:gd name="T13" fmla="*/ 87 h 101"/>
                <a:gd name="T14" fmla="*/ 3 w 85"/>
                <a:gd name="T15" fmla="*/ 71 h 101"/>
                <a:gd name="T16" fmla="*/ 0 w 85"/>
                <a:gd name="T17" fmla="*/ 51 h 101"/>
                <a:gd name="T18" fmla="*/ 3 w 85"/>
                <a:gd name="T19" fmla="*/ 30 h 101"/>
                <a:gd name="T20" fmla="*/ 13 w 85"/>
                <a:gd name="T21" fmla="*/ 14 h 101"/>
                <a:gd name="T22" fmla="*/ 28 w 85"/>
                <a:gd name="T23" fmla="*/ 4 h 101"/>
                <a:gd name="T24" fmla="*/ 46 w 85"/>
                <a:gd name="T25" fmla="*/ 0 h 101"/>
                <a:gd name="T26" fmla="*/ 68 w 85"/>
                <a:gd name="T27" fmla="*/ 5 h 101"/>
                <a:gd name="T28" fmla="*/ 85 w 85"/>
                <a:gd name="T29" fmla="*/ 21 h 101"/>
                <a:gd name="T30" fmla="*/ 68 w 85"/>
                <a:gd name="T31" fmla="*/ 38 h 101"/>
                <a:gd name="T32" fmla="*/ 63 w 85"/>
                <a:gd name="T33" fmla="*/ 33 h 101"/>
                <a:gd name="T34" fmla="*/ 58 w 85"/>
                <a:gd name="T35" fmla="*/ 28 h 101"/>
                <a:gd name="T36" fmla="*/ 53 w 85"/>
                <a:gd name="T37" fmla="*/ 26 h 101"/>
                <a:gd name="T38" fmla="*/ 46 w 85"/>
                <a:gd name="T39" fmla="*/ 25 h 101"/>
                <a:gd name="T40" fmla="*/ 37 w 85"/>
                <a:gd name="T41" fmla="*/ 26 h 101"/>
                <a:gd name="T42" fmla="*/ 31 w 85"/>
                <a:gd name="T43" fmla="*/ 32 h 101"/>
                <a:gd name="T44" fmla="*/ 27 w 85"/>
                <a:gd name="T45" fmla="*/ 40 h 101"/>
                <a:gd name="T46" fmla="*/ 26 w 85"/>
                <a:gd name="T47" fmla="*/ 51 h 101"/>
                <a:gd name="T48" fmla="*/ 27 w 85"/>
                <a:gd name="T49" fmla="*/ 61 h 101"/>
                <a:gd name="T50" fmla="*/ 31 w 85"/>
                <a:gd name="T51" fmla="*/ 69 h 101"/>
                <a:gd name="T52" fmla="*/ 37 w 85"/>
                <a:gd name="T53" fmla="*/ 75 h 101"/>
                <a:gd name="T54" fmla="*/ 46 w 85"/>
                <a:gd name="T55" fmla="*/ 77 h 101"/>
                <a:gd name="T56" fmla="*/ 52 w 85"/>
                <a:gd name="T57" fmla="*/ 76 h 101"/>
                <a:gd name="T58" fmla="*/ 58 w 85"/>
                <a:gd name="T59" fmla="*/ 73 h 101"/>
                <a:gd name="T60" fmla="*/ 64 w 85"/>
                <a:gd name="T61" fmla="*/ 69 h 101"/>
                <a:gd name="T62" fmla="*/ 69 w 85"/>
                <a:gd name="T63" fmla="*/ 64 h 101"/>
                <a:gd name="T64" fmla="*/ 85 w 85"/>
                <a:gd name="T65"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01">
                  <a:moveTo>
                    <a:pt x="85" y="80"/>
                  </a:moveTo>
                  <a:cubicBezTo>
                    <a:pt x="83" y="83"/>
                    <a:pt x="80" y="86"/>
                    <a:pt x="77" y="88"/>
                  </a:cubicBezTo>
                  <a:cubicBezTo>
                    <a:pt x="75" y="91"/>
                    <a:pt x="72" y="93"/>
                    <a:pt x="69" y="95"/>
                  </a:cubicBezTo>
                  <a:cubicBezTo>
                    <a:pt x="65" y="97"/>
                    <a:pt x="62" y="98"/>
                    <a:pt x="58" y="100"/>
                  </a:cubicBezTo>
                  <a:cubicBezTo>
                    <a:pt x="54" y="101"/>
                    <a:pt x="50" y="101"/>
                    <a:pt x="45" y="101"/>
                  </a:cubicBezTo>
                  <a:cubicBezTo>
                    <a:pt x="39" y="101"/>
                    <a:pt x="33" y="100"/>
                    <a:pt x="27" y="98"/>
                  </a:cubicBezTo>
                  <a:cubicBezTo>
                    <a:pt x="22" y="95"/>
                    <a:pt x="17" y="92"/>
                    <a:pt x="13" y="87"/>
                  </a:cubicBezTo>
                  <a:cubicBezTo>
                    <a:pt x="9" y="83"/>
                    <a:pt x="5" y="77"/>
                    <a:pt x="3" y="71"/>
                  </a:cubicBezTo>
                  <a:cubicBezTo>
                    <a:pt x="1" y="65"/>
                    <a:pt x="0" y="58"/>
                    <a:pt x="0" y="51"/>
                  </a:cubicBezTo>
                  <a:cubicBezTo>
                    <a:pt x="0" y="43"/>
                    <a:pt x="1" y="36"/>
                    <a:pt x="3" y="30"/>
                  </a:cubicBezTo>
                  <a:cubicBezTo>
                    <a:pt x="5" y="24"/>
                    <a:pt x="9" y="19"/>
                    <a:pt x="13" y="14"/>
                  </a:cubicBezTo>
                  <a:cubicBezTo>
                    <a:pt x="17" y="10"/>
                    <a:pt x="22" y="6"/>
                    <a:pt x="28" y="4"/>
                  </a:cubicBezTo>
                  <a:cubicBezTo>
                    <a:pt x="33" y="1"/>
                    <a:pt x="39" y="0"/>
                    <a:pt x="46" y="0"/>
                  </a:cubicBezTo>
                  <a:cubicBezTo>
                    <a:pt x="54" y="0"/>
                    <a:pt x="62" y="2"/>
                    <a:pt x="68" y="5"/>
                  </a:cubicBezTo>
                  <a:cubicBezTo>
                    <a:pt x="74" y="9"/>
                    <a:pt x="80" y="14"/>
                    <a:pt x="85" y="21"/>
                  </a:cubicBezTo>
                  <a:cubicBezTo>
                    <a:pt x="68" y="38"/>
                    <a:pt x="68" y="38"/>
                    <a:pt x="68" y="38"/>
                  </a:cubicBezTo>
                  <a:cubicBezTo>
                    <a:pt x="66" y="36"/>
                    <a:pt x="65" y="35"/>
                    <a:pt x="63" y="33"/>
                  </a:cubicBezTo>
                  <a:cubicBezTo>
                    <a:pt x="62" y="31"/>
                    <a:pt x="60" y="30"/>
                    <a:pt x="58" y="28"/>
                  </a:cubicBezTo>
                  <a:cubicBezTo>
                    <a:pt x="57" y="27"/>
                    <a:pt x="55" y="26"/>
                    <a:pt x="53" y="26"/>
                  </a:cubicBezTo>
                  <a:cubicBezTo>
                    <a:pt x="51" y="25"/>
                    <a:pt x="48" y="25"/>
                    <a:pt x="46" y="25"/>
                  </a:cubicBezTo>
                  <a:cubicBezTo>
                    <a:pt x="43" y="25"/>
                    <a:pt x="40" y="25"/>
                    <a:pt x="37" y="26"/>
                  </a:cubicBezTo>
                  <a:cubicBezTo>
                    <a:pt x="35" y="28"/>
                    <a:pt x="33" y="29"/>
                    <a:pt x="31" y="32"/>
                  </a:cubicBezTo>
                  <a:cubicBezTo>
                    <a:pt x="29" y="34"/>
                    <a:pt x="28" y="37"/>
                    <a:pt x="27" y="40"/>
                  </a:cubicBezTo>
                  <a:cubicBezTo>
                    <a:pt x="26" y="43"/>
                    <a:pt x="26" y="47"/>
                    <a:pt x="26" y="51"/>
                  </a:cubicBezTo>
                  <a:cubicBezTo>
                    <a:pt x="26" y="55"/>
                    <a:pt x="26" y="58"/>
                    <a:pt x="27" y="61"/>
                  </a:cubicBezTo>
                  <a:cubicBezTo>
                    <a:pt x="28" y="64"/>
                    <a:pt x="29" y="67"/>
                    <a:pt x="31" y="69"/>
                  </a:cubicBezTo>
                  <a:cubicBezTo>
                    <a:pt x="33" y="72"/>
                    <a:pt x="35" y="73"/>
                    <a:pt x="37" y="75"/>
                  </a:cubicBezTo>
                  <a:cubicBezTo>
                    <a:pt x="40" y="76"/>
                    <a:pt x="43" y="77"/>
                    <a:pt x="46" y="77"/>
                  </a:cubicBezTo>
                  <a:cubicBezTo>
                    <a:pt x="48" y="77"/>
                    <a:pt x="50" y="76"/>
                    <a:pt x="52" y="76"/>
                  </a:cubicBezTo>
                  <a:cubicBezTo>
                    <a:pt x="55" y="75"/>
                    <a:pt x="57" y="74"/>
                    <a:pt x="58" y="73"/>
                  </a:cubicBezTo>
                  <a:cubicBezTo>
                    <a:pt x="60" y="72"/>
                    <a:pt x="62" y="71"/>
                    <a:pt x="64" y="69"/>
                  </a:cubicBezTo>
                  <a:cubicBezTo>
                    <a:pt x="65" y="68"/>
                    <a:pt x="67" y="66"/>
                    <a:pt x="69" y="64"/>
                  </a:cubicBezTo>
                  <a:lnTo>
                    <a:pt x="85" y="8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0" name="Freeform 26">
              <a:extLst>
                <a:ext uri="{FF2B5EF4-FFF2-40B4-BE49-F238E27FC236}">
                  <a16:creationId xmlns:a16="http://schemas.microsoft.com/office/drawing/2014/main" id="{91225174-20DB-4A4F-A5BB-9A114EDC0F3E}"/>
                </a:ext>
              </a:extLst>
            </p:cNvPr>
            <p:cNvSpPr>
              <a:spLocks/>
            </p:cNvSpPr>
            <p:nvPr/>
          </p:nvSpPr>
          <p:spPr bwMode="white">
            <a:xfrm>
              <a:off x="10297911" y="1406980"/>
              <a:ext cx="57529" cy="91524"/>
            </a:xfrm>
            <a:custGeom>
              <a:avLst/>
              <a:gdLst>
                <a:gd name="T0" fmla="*/ 59 w 84"/>
                <a:gd name="T1" fmla="*/ 135 h 135"/>
                <a:gd name="T2" fmla="*/ 59 w 84"/>
                <a:gd name="T3" fmla="*/ 83 h 135"/>
                <a:gd name="T4" fmla="*/ 55 w 84"/>
                <a:gd name="T5" fmla="*/ 66 h 135"/>
                <a:gd name="T6" fmla="*/ 42 w 84"/>
                <a:gd name="T7" fmla="*/ 60 h 135"/>
                <a:gd name="T8" fmla="*/ 35 w 84"/>
                <a:gd name="T9" fmla="*/ 61 h 135"/>
                <a:gd name="T10" fmla="*/ 30 w 84"/>
                <a:gd name="T11" fmla="*/ 65 h 135"/>
                <a:gd name="T12" fmla="*/ 27 w 84"/>
                <a:gd name="T13" fmla="*/ 71 h 135"/>
                <a:gd name="T14" fmla="*/ 25 w 84"/>
                <a:gd name="T15" fmla="*/ 82 h 135"/>
                <a:gd name="T16" fmla="*/ 25 w 84"/>
                <a:gd name="T17" fmla="*/ 135 h 135"/>
                <a:gd name="T18" fmla="*/ 0 w 84"/>
                <a:gd name="T19" fmla="*/ 135 h 135"/>
                <a:gd name="T20" fmla="*/ 0 w 84"/>
                <a:gd name="T21" fmla="*/ 13 h 135"/>
                <a:gd name="T22" fmla="*/ 25 w 84"/>
                <a:gd name="T23" fmla="*/ 0 h 135"/>
                <a:gd name="T24" fmla="*/ 25 w 84"/>
                <a:gd name="T25" fmla="*/ 44 h 135"/>
                <a:gd name="T26" fmla="*/ 29 w 84"/>
                <a:gd name="T27" fmla="*/ 41 h 135"/>
                <a:gd name="T28" fmla="*/ 35 w 84"/>
                <a:gd name="T29" fmla="*/ 38 h 135"/>
                <a:gd name="T30" fmla="*/ 41 w 84"/>
                <a:gd name="T31" fmla="*/ 37 h 135"/>
                <a:gd name="T32" fmla="*/ 48 w 84"/>
                <a:gd name="T33" fmla="*/ 36 h 135"/>
                <a:gd name="T34" fmla="*/ 64 w 84"/>
                <a:gd name="T35" fmla="*/ 39 h 135"/>
                <a:gd name="T36" fmla="*/ 75 w 84"/>
                <a:gd name="T37" fmla="*/ 48 h 135"/>
                <a:gd name="T38" fmla="*/ 82 w 84"/>
                <a:gd name="T39" fmla="*/ 62 h 135"/>
                <a:gd name="T40" fmla="*/ 84 w 84"/>
                <a:gd name="T41" fmla="*/ 80 h 135"/>
                <a:gd name="T42" fmla="*/ 84 w 84"/>
                <a:gd name="T43" fmla="*/ 135 h 135"/>
                <a:gd name="T44" fmla="*/ 59 w 84"/>
                <a:gd name="T45"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5">
                  <a:moveTo>
                    <a:pt x="59" y="135"/>
                  </a:moveTo>
                  <a:cubicBezTo>
                    <a:pt x="59" y="83"/>
                    <a:pt x="59" y="83"/>
                    <a:pt x="59" y="83"/>
                  </a:cubicBezTo>
                  <a:cubicBezTo>
                    <a:pt x="59" y="75"/>
                    <a:pt x="57" y="69"/>
                    <a:pt x="55" y="66"/>
                  </a:cubicBezTo>
                  <a:cubicBezTo>
                    <a:pt x="52" y="62"/>
                    <a:pt x="48" y="60"/>
                    <a:pt x="42" y="60"/>
                  </a:cubicBezTo>
                  <a:cubicBezTo>
                    <a:pt x="39" y="60"/>
                    <a:pt x="37" y="60"/>
                    <a:pt x="35" y="61"/>
                  </a:cubicBezTo>
                  <a:cubicBezTo>
                    <a:pt x="33" y="62"/>
                    <a:pt x="31" y="63"/>
                    <a:pt x="30" y="65"/>
                  </a:cubicBezTo>
                  <a:cubicBezTo>
                    <a:pt x="28" y="66"/>
                    <a:pt x="27" y="69"/>
                    <a:pt x="27" y="71"/>
                  </a:cubicBezTo>
                  <a:cubicBezTo>
                    <a:pt x="26" y="74"/>
                    <a:pt x="25" y="78"/>
                    <a:pt x="25" y="82"/>
                  </a:cubicBezTo>
                  <a:cubicBezTo>
                    <a:pt x="25" y="135"/>
                    <a:pt x="25" y="135"/>
                    <a:pt x="25" y="135"/>
                  </a:cubicBezTo>
                  <a:cubicBezTo>
                    <a:pt x="0" y="135"/>
                    <a:pt x="0" y="135"/>
                    <a:pt x="0" y="135"/>
                  </a:cubicBezTo>
                  <a:cubicBezTo>
                    <a:pt x="0" y="13"/>
                    <a:pt x="0" y="13"/>
                    <a:pt x="0" y="13"/>
                  </a:cubicBezTo>
                  <a:cubicBezTo>
                    <a:pt x="25" y="0"/>
                    <a:pt x="25" y="0"/>
                    <a:pt x="25" y="0"/>
                  </a:cubicBezTo>
                  <a:cubicBezTo>
                    <a:pt x="25" y="44"/>
                    <a:pt x="25" y="44"/>
                    <a:pt x="25" y="44"/>
                  </a:cubicBezTo>
                  <a:cubicBezTo>
                    <a:pt x="27" y="43"/>
                    <a:pt x="28" y="42"/>
                    <a:pt x="29" y="41"/>
                  </a:cubicBezTo>
                  <a:cubicBezTo>
                    <a:pt x="31" y="40"/>
                    <a:pt x="33" y="39"/>
                    <a:pt x="35" y="38"/>
                  </a:cubicBezTo>
                  <a:cubicBezTo>
                    <a:pt x="37" y="38"/>
                    <a:pt x="39" y="37"/>
                    <a:pt x="41" y="37"/>
                  </a:cubicBezTo>
                  <a:cubicBezTo>
                    <a:pt x="43" y="36"/>
                    <a:pt x="46" y="36"/>
                    <a:pt x="48" y="36"/>
                  </a:cubicBezTo>
                  <a:cubicBezTo>
                    <a:pt x="54" y="36"/>
                    <a:pt x="60" y="37"/>
                    <a:pt x="64" y="39"/>
                  </a:cubicBezTo>
                  <a:cubicBezTo>
                    <a:pt x="69" y="41"/>
                    <a:pt x="73" y="44"/>
                    <a:pt x="75" y="48"/>
                  </a:cubicBezTo>
                  <a:cubicBezTo>
                    <a:pt x="78" y="52"/>
                    <a:pt x="81" y="56"/>
                    <a:pt x="82" y="62"/>
                  </a:cubicBezTo>
                  <a:cubicBezTo>
                    <a:pt x="83" y="67"/>
                    <a:pt x="84" y="74"/>
                    <a:pt x="84" y="80"/>
                  </a:cubicBezTo>
                  <a:cubicBezTo>
                    <a:pt x="84" y="135"/>
                    <a:pt x="84" y="135"/>
                    <a:pt x="84" y="135"/>
                  </a:cubicBezTo>
                  <a:lnTo>
                    <a:pt x="59" y="1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1" name="Freeform 27">
              <a:extLst>
                <a:ext uri="{FF2B5EF4-FFF2-40B4-BE49-F238E27FC236}">
                  <a16:creationId xmlns:a16="http://schemas.microsoft.com/office/drawing/2014/main" id="{43682DD6-D2ED-4863-B27B-40F3CBE0E381}"/>
                </a:ext>
              </a:extLst>
            </p:cNvPr>
            <p:cNvSpPr>
              <a:spLocks/>
            </p:cNvSpPr>
            <p:nvPr/>
          </p:nvSpPr>
          <p:spPr bwMode="white">
            <a:xfrm>
              <a:off x="10372438" y="1406980"/>
              <a:ext cx="16998" cy="91524"/>
            </a:xfrm>
            <a:custGeom>
              <a:avLst/>
              <a:gdLst>
                <a:gd name="T0" fmla="*/ 0 w 13"/>
                <a:gd name="T1" fmla="*/ 70 h 70"/>
                <a:gd name="T2" fmla="*/ 0 w 13"/>
                <a:gd name="T3" fmla="*/ 6 h 70"/>
                <a:gd name="T4" fmla="*/ 13 w 13"/>
                <a:gd name="T5" fmla="*/ 0 h 70"/>
                <a:gd name="T6" fmla="*/ 13 w 13"/>
                <a:gd name="T7" fmla="*/ 70 h 70"/>
                <a:gd name="T8" fmla="*/ 0 w 13"/>
                <a:gd name="T9" fmla="*/ 70 h 70"/>
              </a:gdLst>
              <a:ahLst/>
              <a:cxnLst>
                <a:cxn ang="0">
                  <a:pos x="T0" y="T1"/>
                </a:cxn>
                <a:cxn ang="0">
                  <a:pos x="T2" y="T3"/>
                </a:cxn>
                <a:cxn ang="0">
                  <a:pos x="T4" y="T5"/>
                </a:cxn>
                <a:cxn ang="0">
                  <a:pos x="T6" y="T7"/>
                </a:cxn>
                <a:cxn ang="0">
                  <a:pos x="T8" y="T9"/>
                </a:cxn>
              </a:cxnLst>
              <a:rect l="0" t="0" r="r" b="b"/>
              <a:pathLst>
                <a:path w="13" h="70">
                  <a:moveTo>
                    <a:pt x="0" y="70"/>
                  </a:moveTo>
                  <a:lnTo>
                    <a:pt x="0" y="6"/>
                  </a:lnTo>
                  <a:lnTo>
                    <a:pt x="13" y="0"/>
                  </a:lnTo>
                  <a:lnTo>
                    <a:pt x="13" y="70"/>
                  </a:lnTo>
                  <a:lnTo>
                    <a:pt x="0" y="7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2" name="Freeform 28">
              <a:extLst>
                <a:ext uri="{FF2B5EF4-FFF2-40B4-BE49-F238E27FC236}">
                  <a16:creationId xmlns:a16="http://schemas.microsoft.com/office/drawing/2014/main" id="{3D572001-B851-4D74-9AAD-13EE61D916F6}"/>
                </a:ext>
              </a:extLst>
            </p:cNvPr>
            <p:cNvSpPr>
              <a:spLocks noEditPoints="1"/>
            </p:cNvSpPr>
            <p:nvPr/>
          </p:nvSpPr>
          <p:spPr bwMode="white">
            <a:xfrm>
              <a:off x="10403818" y="1430515"/>
              <a:ext cx="57529" cy="69297"/>
            </a:xfrm>
            <a:custGeom>
              <a:avLst/>
              <a:gdLst>
                <a:gd name="T0" fmla="*/ 58 w 83"/>
                <a:gd name="T1" fmla="*/ 99 h 101"/>
                <a:gd name="T2" fmla="*/ 58 w 83"/>
                <a:gd name="T3" fmla="*/ 93 h 101"/>
                <a:gd name="T4" fmla="*/ 54 w 83"/>
                <a:gd name="T5" fmla="*/ 96 h 101"/>
                <a:gd name="T6" fmla="*/ 49 w 83"/>
                <a:gd name="T7" fmla="*/ 99 h 101"/>
                <a:gd name="T8" fmla="*/ 42 w 83"/>
                <a:gd name="T9" fmla="*/ 101 h 101"/>
                <a:gd name="T10" fmla="*/ 36 w 83"/>
                <a:gd name="T11" fmla="*/ 101 h 101"/>
                <a:gd name="T12" fmla="*/ 23 w 83"/>
                <a:gd name="T13" fmla="*/ 99 h 101"/>
                <a:gd name="T14" fmla="*/ 11 w 83"/>
                <a:gd name="T15" fmla="*/ 93 h 101"/>
                <a:gd name="T16" fmla="*/ 3 w 83"/>
                <a:gd name="T17" fmla="*/ 82 h 101"/>
                <a:gd name="T18" fmla="*/ 0 w 83"/>
                <a:gd name="T19" fmla="*/ 67 h 101"/>
                <a:gd name="T20" fmla="*/ 3 w 83"/>
                <a:gd name="T21" fmla="*/ 53 h 101"/>
                <a:gd name="T22" fmla="*/ 11 w 83"/>
                <a:gd name="T23" fmla="*/ 42 h 101"/>
                <a:gd name="T24" fmla="*/ 24 w 83"/>
                <a:gd name="T25" fmla="*/ 36 h 101"/>
                <a:gd name="T26" fmla="*/ 39 w 83"/>
                <a:gd name="T27" fmla="*/ 34 h 101"/>
                <a:gd name="T28" fmla="*/ 50 w 83"/>
                <a:gd name="T29" fmla="*/ 36 h 101"/>
                <a:gd name="T30" fmla="*/ 58 w 83"/>
                <a:gd name="T31" fmla="*/ 38 h 101"/>
                <a:gd name="T32" fmla="*/ 58 w 83"/>
                <a:gd name="T33" fmla="*/ 33 h 101"/>
                <a:gd name="T34" fmla="*/ 54 w 83"/>
                <a:gd name="T35" fmla="*/ 25 h 101"/>
                <a:gd name="T36" fmla="*/ 44 w 83"/>
                <a:gd name="T37" fmla="*/ 21 h 101"/>
                <a:gd name="T38" fmla="*/ 30 w 83"/>
                <a:gd name="T39" fmla="*/ 22 h 101"/>
                <a:gd name="T40" fmla="*/ 17 w 83"/>
                <a:gd name="T41" fmla="*/ 27 h 101"/>
                <a:gd name="T42" fmla="*/ 7 w 83"/>
                <a:gd name="T43" fmla="*/ 10 h 101"/>
                <a:gd name="T44" fmla="*/ 25 w 83"/>
                <a:gd name="T45" fmla="*/ 2 h 101"/>
                <a:gd name="T46" fmla="*/ 44 w 83"/>
                <a:gd name="T47" fmla="*/ 0 h 101"/>
                <a:gd name="T48" fmla="*/ 60 w 83"/>
                <a:gd name="T49" fmla="*/ 2 h 101"/>
                <a:gd name="T50" fmla="*/ 72 w 83"/>
                <a:gd name="T51" fmla="*/ 9 h 101"/>
                <a:gd name="T52" fmla="*/ 80 w 83"/>
                <a:gd name="T53" fmla="*/ 19 h 101"/>
                <a:gd name="T54" fmla="*/ 83 w 83"/>
                <a:gd name="T55" fmla="*/ 34 h 101"/>
                <a:gd name="T56" fmla="*/ 83 w 83"/>
                <a:gd name="T57" fmla="*/ 99 h 101"/>
                <a:gd name="T58" fmla="*/ 58 w 83"/>
                <a:gd name="T59" fmla="*/ 99 h 101"/>
                <a:gd name="T60" fmla="*/ 58 w 83"/>
                <a:gd name="T61" fmla="*/ 58 h 101"/>
                <a:gd name="T62" fmla="*/ 54 w 83"/>
                <a:gd name="T63" fmla="*/ 57 h 101"/>
                <a:gd name="T64" fmla="*/ 51 w 83"/>
                <a:gd name="T65" fmla="*/ 55 h 101"/>
                <a:gd name="T66" fmla="*/ 46 w 83"/>
                <a:gd name="T67" fmla="*/ 55 h 101"/>
                <a:gd name="T68" fmla="*/ 40 w 83"/>
                <a:gd name="T69" fmla="*/ 54 h 101"/>
                <a:gd name="T70" fmla="*/ 29 w 83"/>
                <a:gd name="T71" fmla="*/ 58 h 101"/>
                <a:gd name="T72" fmla="*/ 25 w 83"/>
                <a:gd name="T73" fmla="*/ 67 h 101"/>
                <a:gd name="T74" fmla="*/ 26 w 83"/>
                <a:gd name="T75" fmla="*/ 71 h 101"/>
                <a:gd name="T76" fmla="*/ 28 w 83"/>
                <a:gd name="T77" fmla="*/ 76 h 101"/>
                <a:gd name="T78" fmla="*/ 33 w 83"/>
                <a:gd name="T79" fmla="*/ 78 h 101"/>
                <a:gd name="T80" fmla="*/ 40 w 83"/>
                <a:gd name="T81" fmla="*/ 80 h 101"/>
                <a:gd name="T82" fmla="*/ 46 w 83"/>
                <a:gd name="T83" fmla="*/ 79 h 101"/>
                <a:gd name="T84" fmla="*/ 51 w 83"/>
                <a:gd name="T85" fmla="*/ 77 h 101"/>
                <a:gd name="T86" fmla="*/ 55 w 83"/>
                <a:gd name="T87" fmla="*/ 74 h 101"/>
                <a:gd name="T88" fmla="*/ 58 w 83"/>
                <a:gd name="T89" fmla="*/ 71 h 101"/>
                <a:gd name="T90" fmla="*/ 58 w 83"/>
                <a:gd name="T91" fmla="*/ 5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58" y="99"/>
                  </a:moveTo>
                  <a:cubicBezTo>
                    <a:pt x="58" y="93"/>
                    <a:pt x="58" y="93"/>
                    <a:pt x="58" y="93"/>
                  </a:cubicBezTo>
                  <a:cubicBezTo>
                    <a:pt x="57" y="94"/>
                    <a:pt x="55" y="95"/>
                    <a:pt x="54" y="96"/>
                  </a:cubicBezTo>
                  <a:cubicBezTo>
                    <a:pt x="52" y="97"/>
                    <a:pt x="51" y="98"/>
                    <a:pt x="49" y="99"/>
                  </a:cubicBezTo>
                  <a:cubicBezTo>
                    <a:pt x="47" y="100"/>
                    <a:pt x="44" y="100"/>
                    <a:pt x="42" y="101"/>
                  </a:cubicBezTo>
                  <a:cubicBezTo>
                    <a:pt x="40" y="101"/>
                    <a:pt x="38" y="101"/>
                    <a:pt x="36" y="101"/>
                  </a:cubicBezTo>
                  <a:cubicBezTo>
                    <a:pt x="31" y="101"/>
                    <a:pt x="27" y="100"/>
                    <a:pt x="23" y="99"/>
                  </a:cubicBezTo>
                  <a:cubicBezTo>
                    <a:pt x="18" y="98"/>
                    <a:pt x="14" y="96"/>
                    <a:pt x="11" y="93"/>
                  </a:cubicBezTo>
                  <a:cubicBezTo>
                    <a:pt x="8" y="90"/>
                    <a:pt x="5" y="86"/>
                    <a:pt x="3" y="82"/>
                  </a:cubicBezTo>
                  <a:cubicBezTo>
                    <a:pt x="1" y="78"/>
                    <a:pt x="0" y="73"/>
                    <a:pt x="0" y="67"/>
                  </a:cubicBezTo>
                  <a:cubicBezTo>
                    <a:pt x="0" y="61"/>
                    <a:pt x="1" y="57"/>
                    <a:pt x="3" y="53"/>
                  </a:cubicBezTo>
                  <a:cubicBezTo>
                    <a:pt x="5" y="48"/>
                    <a:pt x="8" y="45"/>
                    <a:pt x="11" y="42"/>
                  </a:cubicBezTo>
                  <a:cubicBezTo>
                    <a:pt x="15" y="40"/>
                    <a:pt x="19" y="38"/>
                    <a:pt x="24" y="36"/>
                  </a:cubicBezTo>
                  <a:cubicBezTo>
                    <a:pt x="28" y="35"/>
                    <a:pt x="33" y="34"/>
                    <a:pt x="39" y="34"/>
                  </a:cubicBezTo>
                  <a:cubicBezTo>
                    <a:pt x="43" y="34"/>
                    <a:pt x="47" y="35"/>
                    <a:pt x="50" y="36"/>
                  </a:cubicBezTo>
                  <a:cubicBezTo>
                    <a:pt x="53" y="36"/>
                    <a:pt x="56" y="37"/>
                    <a:pt x="58" y="38"/>
                  </a:cubicBezTo>
                  <a:cubicBezTo>
                    <a:pt x="58" y="33"/>
                    <a:pt x="58" y="33"/>
                    <a:pt x="58" y="33"/>
                  </a:cubicBezTo>
                  <a:cubicBezTo>
                    <a:pt x="58" y="30"/>
                    <a:pt x="56" y="27"/>
                    <a:pt x="54" y="25"/>
                  </a:cubicBezTo>
                  <a:cubicBezTo>
                    <a:pt x="52" y="22"/>
                    <a:pt x="48" y="21"/>
                    <a:pt x="44" y="21"/>
                  </a:cubicBezTo>
                  <a:cubicBezTo>
                    <a:pt x="38" y="21"/>
                    <a:pt x="33" y="21"/>
                    <a:pt x="30" y="22"/>
                  </a:cubicBezTo>
                  <a:cubicBezTo>
                    <a:pt x="26" y="23"/>
                    <a:pt x="22" y="25"/>
                    <a:pt x="17" y="27"/>
                  </a:cubicBezTo>
                  <a:cubicBezTo>
                    <a:pt x="7" y="10"/>
                    <a:pt x="7" y="10"/>
                    <a:pt x="7" y="10"/>
                  </a:cubicBezTo>
                  <a:cubicBezTo>
                    <a:pt x="14" y="6"/>
                    <a:pt x="19" y="4"/>
                    <a:pt x="25" y="2"/>
                  </a:cubicBezTo>
                  <a:cubicBezTo>
                    <a:pt x="30" y="1"/>
                    <a:pt x="37" y="0"/>
                    <a:pt x="44" y="0"/>
                  </a:cubicBezTo>
                  <a:cubicBezTo>
                    <a:pt x="50" y="0"/>
                    <a:pt x="55" y="1"/>
                    <a:pt x="60" y="2"/>
                  </a:cubicBezTo>
                  <a:cubicBezTo>
                    <a:pt x="65" y="4"/>
                    <a:pt x="69" y="6"/>
                    <a:pt x="72" y="9"/>
                  </a:cubicBezTo>
                  <a:cubicBezTo>
                    <a:pt x="76" y="12"/>
                    <a:pt x="79" y="15"/>
                    <a:pt x="80" y="19"/>
                  </a:cubicBezTo>
                  <a:cubicBezTo>
                    <a:pt x="82" y="24"/>
                    <a:pt x="83" y="29"/>
                    <a:pt x="83" y="34"/>
                  </a:cubicBezTo>
                  <a:cubicBezTo>
                    <a:pt x="83" y="99"/>
                    <a:pt x="83" y="99"/>
                    <a:pt x="83" y="99"/>
                  </a:cubicBezTo>
                  <a:lnTo>
                    <a:pt x="58" y="99"/>
                  </a:lnTo>
                  <a:close/>
                  <a:moveTo>
                    <a:pt x="58" y="58"/>
                  </a:moveTo>
                  <a:cubicBezTo>
                    <a:pt x="57" y="58"/>
                    <a:pt x="55" y="57"/>
                    <a:pt x="54" y="57"/>
                  </a:cubicBezTo>
                  <a:cubicBezTo>
                    <a:pt x="53" y="56"/>
                    <a:pt x="52" y="56"/>
                    <a:pt x="51" y="55"/>
                  </a:cubicBezTo>
                  <a:cubicBezTo>
                    <a:pt x="49" y="55"/>
                    <a:pt x="48" y="55"/>
                    <a:pt x="46" y="55"/>
                  </a:cubicBezTo>
                  <a:cubicBezTo>
                    <a:pt x="44" y="54"/>
                    <a:pt x="42" y="54"/>
                    <a:pt x="40" y="54"/>
                  </a:cubicBezTo>
                  <a:cubicBezTo>
                    <a:pt x="35" y="54"/>
                    <a:pt x="31" y="55"/>
                    <a:pt x="29" y="58"/>
                  </a:cubicBezTo>
                  <a:cubicBezTo>
                    <a:pt x="26" y="60"/>
                    <a:pt x="25" y="63"/>
                    <a:pt x="25" y="67"/>
                  </a:cubicBezTo>
                  <a:cubicBezTo>
                    <a:pt x="25" y="68"/>
                    <a:pt x="25" y="70"/>
                    <a:pt x="26" y="71"/>
                  </a:cubicBezTo>
                  <a:cubicBezTo>
                    <a:pt x="26" y="73"/>
                    <a:pt x="27" y="74"/>
                    <a:pt x="28" y="76"/>
                  </a:cubicBezTo>
                  <a:cubicBezTo>
                    <a:pt x="30" y="77"/>
                    <a:pt x="31" y="78"/>
                    <a:pt x="33" y="78"/>
                  </a:cubicBezTo>
                  <a:cubicBezTo>
                    <a:pt x="35" y="79"/>
                    <a:pt x="37" y="80"/>
                    <a:pt x="40" y="80"/>
                  </a:cubicBezTo>
                  <a:cubicBezTo>
                    <a:pt x="42" y="80"/>
                    <a:pt x="44" y="79"/>
                    <a:pt x="46" y="79"/>
                  </a:cubicBezTo>
                  <a:cubicBezTo>
                    <a:pt x="48" y="78"/>
                    <a:pt x="49" y="78"/>
                    <a:pt x="51" y="77"/>
                  </a:cubicBezTo>
                  <a:cubicBezTo>
                    <a:pt x="52" y="76"/>
                    <a:pt x="54" y="75"/>
                    <a:pt x="55" y="74"/>
                  </a:cubicBezTo>
                  <a:cubicBezTo>
                    <a:pt x="56" y="73"/>
                    <a:pt x="57" y="72"/>
                    <a:pt x="58" y="71"/>
                  </a:cubicBezTo>
                  <a:lnTo>
                    <a:pt x="58"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3" name="Freeform 29">
              <a:extLst>
                <a:ext uri="{FF2B5EF4-FFF2-40B4-BE49-F238E27FC236}">
                  <a16:creationId xmlns:a16="http://schemas.microsoft.com/office/drawing/2014/main" id="{A827519A-33F0-4CCB-AE07-C95A795FF2FB}"/>
                </a:ext>
              </a:extLst>
            </p:cNvPr>
            <p:cNvSpPr>
              <a:spLocks/>
            </p:cNvSpPr>
            <p:nvPr/>
          </p:nvSpPr>
          <p:spPr bwMode="white">
            <a:xfrm>
              <a:off x="10477037" y="1430515"/>
              <a:ext cx="57529" cy="67989"/>
            </a:xfrm>
            <a:custGeom>
              <a:avLst/>
              <a:gdLst>
                <a:gd name="T0" fmla="*/ 59 w 84"/>
                <a:gd name="T1" fmla="*/ 99 h 99"/>
                <a:gd name="T2" fmla="*/ 59 w 84"/>
                <a:gd name="T3" fmla="*/ 47 h 99"/>
                <a:gd name="T4" fmla="*/ 55 w 84"/>
                <a:gd name="T5" fmla="*/ 30 h 99"/>
                <a:gd name="T6" fmla="*/ 42 w 84"/>
                <a:gd name="T7" fmla="*/ 24 h 99"/>
                <a:gd name="T8" fmla="*/ 35 w 84"/>
                <a:gd name="T9" fmla="*/ 25 h 99"/>
                <a:gd name="T10" fmla="*/ 30 w 84"/>
                <a:gd name="T11" fmla="*/ 29 h 99"/>
                <a:gd name="T12" fmla="*/ 27 w 84"/>
                <a:gd name="T13" fmla="*/ 35 h 99"/>
                <a:gd name="T14" fmla="*/ 26 w 84"/>
                <a:gd name="T15" fmla="*/ 46 h 99"/>
                <a:gd name="T16" fmla="*/ 26 w 84"/>
                <a:gd name="T17" fmla="*/ 99 h 99"/>
                <a:gd name="T18" fmla="*/ 0 w 84"/>
                <a:gd name="T19" fmla="*/ 99 h 99"/>
                <a:gd name="T20" fmla="*/ 0 w 84"/>
                <a:gd name="T21" fmla="*/ 2 h 99"/>
                <a:gd name="T22" fmla="*/ 26 w 84"/>
                <a:gd name="T23" fmla="*/ 2 h 99"/>
                <a:gd name="T24" fmla="*/ 26 w 84"/>
                <a:gd name="T25" fmla="*/ 8 h 99"/>
                <a:gd name="T26" fmla="*/ 30 w 84"/>
                <a:gd name="T27" fmla="*/ 5 h 99"/>
                <a:gd name="T28" fmla="*/ 35 w 84"/>
                <a:gd name="T29" fmla="*/ 2 h 99"/>
                <a:gd name="T30" fmla="*/ 41 w 84"/>
                <a:gd name="T31" fmla="*/ 1 h 99"/>
                <a:gd name="T32" fmla="*/ 48 w 84"/>
                <a:gd name="T33" fmla="*/ 0 h 99"/>
                <a:gd name="T34" fmla="*/ 64 w 84"/>
                <a:gd name="T35" fmla="*/ 3 h 99"/>
                <a:gd name="T36" fmla="*/ 76 w 84"/>
                <a:gd name="T37" fmla="*/ 12 h 99"/>
                <a:gd name="T38" fmla="*/ 82 w 84"/>
                <a:gd name="T39" fmla="*/ 26 h 99"/>
                <a:gd name="T40" fmla="*/ 84 w 84"/>
                <a:gd name="T41" fmla="*/ 44 h 99"/>
                <a:gd name="T42" fmla="*/ 84 w 84"/>
                <a:gd name="T43" fmla="*/ 99 h 99"/>
                <a:gd name="T44" fmla="*/ 59 w 84"/>
                <a:gd name="T4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99">
                  <a:moveTo>
                    <a:pt x="59" y="99"/>
                  </a:moveTo>
                  <a:cubicBezTo>
                    <a:pt x="59" y="47"/>
                    <a:pt x="59" y="47"/>
                    <a:pt x="59" y="47"/>
                  </a:cubicBezTo>
                  <a:cubicBezTo>
                    <a:pt x="59" y="39"/>
                    <a:pt x="58" y="33"/>
                    <a:pt x="55" y="30"/>
                  </a:cubicBezTo>
                  <a:cubicBezTo>
                    <a:pt x="53" y="26"/>
                    <a:pt x="48" y="24"/>
                    <a:pt x="42" y="24"/>
                  </a:cubicBezTo>
                  <a:cubicBezTo>
                    <a:pt x="40" y="24"/>
                    <a:pt x="37" y="24"/>
                    <a:pt x="35" y="25"/>
                  </a:cubicBezTo>
                  <a:cubicBezTo>
                    <a:pt x="33" y="26"/>
                    <a:pt x="31" y="27"/>
                    <a:pt x="30" y="29"/>
                  </a:cubicBezTo>
                  <a:cubicBezTo>
                    <a:pt x="29" y="30"/>
                    <a:pt x="28" y="33"/>
                    <a:pt x="27" y="35"/>
                  </a:cubicBezTo>
                  <a:cubicBezTo>
                    <a:pt x="26" y="38"/>
                    <a:pt x="26" y="42"/>
                    <a:pt x="26" y="46"/>
                  </a:cubicBezTo>
                  <a:cubicBezTo>
                    <a:pt x="26" y="99"/>
                    <a:pt x="26" y="99"/>
                    <a:pt x="26" y="99"/>
                  </a:cubicBezTo>
                  <a:cubicBezTo>
                    <a:pt x="0" y="99"/>
                    <a:pt x="0" y="99"/>
                    <a:pt x="0" y="99"/>
                  </a:cubicBezTo>
                  <a:cubicBezTo>
                    <a:pt x="0" y="2"/>
                    <a:pt x="0" y="2"/>
                    <a:pt x="0" y="2"/>
                  </a:cubicBezTo>
                  <a:cubicBezTo>
                    <a:pt x="26" y="2"/>
                    <a:pt x="26" y="2"/>
                    <a:pt x="26" y="2"/>
                  </a:cubicBezTo>
                  <a:cubicBezTo>
                    <a:pt x="26" y="8"/>
                    <a:pt x="26" y="8"/>
                    <a:pt x="26" y="8"/>
                  </a:cubicBezTo>
                  <a:cubicBezTo>
                    <a:pt x="27" y="7"/>
                    <a:pt x="28" y="6"/>
                    <a:pt x="30" y="5"/>
                  </a:cubicBezTo>
                  <a:cubicBezTo>
                    <a:pt x="31" y="4"/>
                    <a:pt x="33" y="3"/>
                    <a:pt x="35" y="2"/>
                  </a:cubicBezTo>
                  <a:cubicBezTo>
                    <a:pt x="37" y="2"/>
                    <a:pt x="39" y="1"/>
                    <a:pt x="41" y="1"/>
                  </a:cubicBezTo>
                  <a:cubicBezTo>
                    <a:pt x="44" y="0"/>
                    <a:pt x="46" y="0"/>
                    <a:pt x="48" y="0"/>
                  </a:cubicBezTo>
                  <a:cubicBezTo>
                    <a:pt x="55" y="0"/>
                    <a:pt x="60" y="1"/>
                    <a:pt x="64" y="3"/>
                  </a:cubicBezTo>
                  <a:cubicBezTo>
                    <a:pt x="69" y="5"/>
                    <a:pt x="73" y="8"/>
                    <a:pt x="76" y="12"/>
                  </a:cubicBezTo>
                  <a:cubicBezTo>
                    <a:pt x="79" y="16"/>
                    <a:pt x="81" y="20"/>
                    <a:pt x="82" y="26"/>
                  </a:cubicBezTo>
                  <a:cubicBezTo>
                    <a:pt x="84" y="31"/>
                    <a:pt x="84" y="38"/>
                    <a:pt x="84" y="44"/>
                  </a:cubicBezTo>
                  <a:cubicBezTo>
                    <a:pt x="84" y="99"/>
                    <a:pt x="84" y="99"/>
                    <a:pt x="84" y="99"/>
                  </a:cubicBezTo>
                  <a:lnTo>
                    <a:pt x="59" y="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4" name="Freeform 30">
              <a:extLst>
                <a:ext uri="{FF2B5EF4-FFF2-40B4-BE49-F238E27FC236}">
                  <a16:creationId xmlns:a16="http://schemas.microsoft.com/office/drawing/2014/main" id="{4BC09A9F-8959-48BA-9B94-7840D333316F}"/>
                </a:ext>
              </a:extLst>
            </p:cNvPr>
            <p:cNvSpPr>
              <a:spLocks noEditPoints="1"/>
            </p:cNvSpPr>
            <p:nvPr/>
          </p:nvSpPr>
          <p:spPr bwMode="white">
            <a:xfrm>
              <a:off x="10547642" y="1406980"/>
              <a:ext cx="57529" cy="92832"/>
            </a:xfrm>
            <a:custGeom>
              <a:avLst/>
              <a:gdLst>
                <a:gd name="T0" fmla="*/ 58 w 84"/>
                <a:gd name="T1" fmla="*/ 135 h 137"/>
                <a:gd name="T2" fmla="*/ 58 w 84"/>
                <a:gd name="T3" fmla="*/ 129 h 137"/>
                <a:gd name="T4" fmla="*/ 55 w 84"/>
                <a:gd name="T5" fmla="*/ 132 h 137"/>
                <a:gd name="T6" fmla="*/ 50 w 84"/>
                <a:gd name="T7" fmla="*/ 135 h 137"/>
                <a:gd name="T8" fmla="*/ 45 w 84"/>
                <a:gd name="T9" fmla="*/ 137 h 137"/>
                <a:gd name="T10" fmla="*/ 38 w 84"/>
                <a:gd name="T11" fmla="*/ 137 h 137"/>
                <a:gd name="T12" fmla="*/ 23 w 84"/>
                <a:gd name="T13" fmla="*/ 134 h 137"/>
                <a:gd name="T14" fmla="*/ 11 w 84"/>
                <a:gd name="T15" fmla="*/ 125 h 137"/>
                <a:gd name="T16" fmla="*/ 3 w 84"/>
                <a:gd name="T17" fmla="*/ 109 h 137"/>
                <a:gd name="T18" fmla="*/ 0 w 84"/>
                <a:gd name="T19" fmla="*/ 85 h 137"/>
                <a:gd name="T20" fmla="*/ 3 w 84"/>
                <a:gd name="T21" fmla="*/ 65 h 137"/>
                <a:gd name="T22" fmla="*/ 10 w 84"/>
                <a:gd name="T23" fmla="*/ 50 h 137"/>
                <a:gd name="T24" fmla="*/ 22 w 84"/>
                <a:gd name="T25" fmla="*/ 40 h 137"/>
                <a:gd name="T26" fmla="*/ 38 w 84"/>
                <a:gd name="T27" fmla="*/ 36 h 137"/>
                <a:gd name="T28" fmla="*/ 44 w 84"/>
                <a:gd name="T29" fmla="*/ 36 h 137"/>
                <a:gd name="T30" fmla="*/ 50 w 84"/>
                <a:gd name="T31" fmla="*/ 38 h 137"/>
                <a:gd name="T32" fmla="*/ 55 w 84"/>
                <a:gd name="T33" fmla="*/ 41 h 137"/>
                <a:gd name="T34" fmla="*/ 58 w 84"/>
                <a:gd name="T35" fmla="*/ 44 h 137"/>
                <a:gd name="T36" fmla="*/ 58 w 84"/>
                <a:gd name="T37" fmla="*/ 13 h 137"/>
                <a:gd name="T38" fmla="*/ 84 w 84"/>
                <a:gd name="T39" fmla="*/ 0 h 137"/>
                <a:gd name="T40" fmla="*/ 84 w 84"/>
                <a:gd name="T41" fmla="*/ 135 h 137"/>
                <a:gd name="T42" fmla="*/ 58 w 84"/>
                <a:gd name="T43" fmla="*/ 135 h 137"/>
                <a:gd name="T44" fmla="*/ 58 w 84"/>
                <a:gd name="T45" fmla="*/ 68 h 137"/>
                <a:gd name="T46" fmla="*/ 55 w 84"/>
                <a:gd name="T47" fmla="*/ 65 h 137"/>
                <a:gd name="T48" fmla="*/ 52 w 84"/>
                <a:gd name="T49" fmla="*/ 62 h 137"/>
                <a:gd name="T50" fmla="*/ 47 w 84"/>
                <a:gd name="T51" fmla="*/ 61 h 137"/>
                <a:gd name="T52" fmla="*/ 41 w 84"/>
                <a:gd name="T53" fmla="*/ 60 h 137"/>
                <a:gd name="T54" fmla="*/ 30 w 84"/>
                <a:gd name="T55" fmla="*/ 66 h 137"/>
                <a:gd name="T56" fmla="*/ 26 w 84"/>
                <a:gd name="T57" fmla="*/ 85 h 137"/>
                <a:gd name="T58" fmla="*/ 27 w 84"/>
                <a:gd name="T59" fmla="*/ 98 h 137"/>
                <a:gd name="T60" fmla="*/ 31 w 84"/>
                <a:gd name="T61" fmla="*/ 106 h 137"/>
                <a:gd name="T62" fmla="*/ 36 w 84"/>
                <a:gd name="T63" fmla="*/ 111 h 137"/>
                <a:gd name="T64" fmla="*/ 43 w 84"/>
                <a:gd name="T65" fmla="*/ 113 h 137"/>
                <a:gd name="T66" fmla="*/ 48 w 84"/>
                <a:gd name="T67" fmla="*/ 112 h 137"/>
                <a:gd name="T68" fmla="*/ 52 w 84"/>
                <a:gd name="T69" fmla="*/ 111 h 137"/>
                <a:gd name="T70" fmla="*/ 56 w 84"/>
                <a:gd name="T71" fmla="*/ 108 h 137"/>
                <a:gd name="T72" fmla="*/ 58 w 84"/>
                <a:gd name="T73" fmla="*/ 105 h 137"/>
                <a:gd name="T74" fmla="*/ 58 w 84"/>
                <a:gd name="T75" fmla="*/ 6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37">
                  <a:moveTo>
                    <a:pt x="58" y="135"/>
                  </a:moveTo>
                  <a:cubicBezTo>
                    <a:pt x="58" y="129"/>
                    <a:pt x="58" y="129"/>
                    <a:pt x="58" y="129"/>
                  </a:cubicBezTo>
                  <a:cubicBezTo>
                    <a:pt x="57" y="130"/>
                    <a:pt x="56" y="131"/>
                    <a:pt x="55" y="132"/>
                  </a:cubicBezTo>
                  <a:cubicBezTo>
                    <a:pt x="53" y="133"/>
                    <a:pt x="52" y="134"/>
                    <a:pt x="50" y="135"/>
                  </a:cubicBezTo>
                  <a:cubicBezTo>
                    <a:pt x="48" y="136"/>
                    <a:pt x="47" y="136"/>
                    <a:pt x="45" y="137"/>
                  </a:cubicBezTo>
                  <a:cubicBezTo>
                    <a:pt x="43" y="137"/>
                    <a:pt x="40" y="137"/>
                    <a:pt x="38" y="137"/>
                  </a:cubicBezTo>
                  <a:cubicBezTo>
                    <a:pt x="33" y="137"/>
                    <a:pt x="28" y="136"/>
                    <a:pt x="23" y="134"/>
                  </a:cubicBezTo>
                  <a:cubicBezTo>
                    <a:pt x="19" y="132"/>
                    <a:pt x="15" y="129"/>
                    <a:pt x="11" y="125"/>
                  </a:cubicBezTo>
                  <a:cubicBezTo>
                    <a:pt x="8" y="121"/>
                    <a:pt x="5" y="115"/>
                    <a:pt x="3" y="109"/>
                  </a:cubicBezTo>
                  <a:cubicBezTo>
                    <a:pt x="1" y="102"/>
                    <a:pt x="0" y="94"/>
                    <a:pt x="0" y="85"/>
                  </a:cubicBezTo>
                  <a:cubicBezTo>
                    <a:pt x="0" y="78"/>
                    <a:pt x="1" y="71"/>
                    <a:pt x="3" y="65"/>
                  </a:cubicBezTo>
                  <a:cubicBezTo>
                    <a:pt x="4" y="59"/>
                    <a:pt x="7" y="54"/>
                    <a:pt x="10" y="50"/>
                  </a:cubicBezTo>
                  <a:cubicBezTo>
                    <a:pt x="13" y="45"/>
                    <a:pt x="17" y="42"/>
                    <a:pt x="22" y="40"/>
                  </a:cubicBezTo>
                  <a:cubicBezTo>
                    <a:pt x="27" y="37"/>
                    <a:pt x="32" y="36"/>
                    <a:pt x="38" y="36"/>
                  </a:cubicBezTo>
                  <a:cubicBezTo>
                    <a:pt x="40" y="36"/>
                    <a:pt x="42" y="36"/>
                    <a:pt x="44" y="36"/>
                  </a:cubicBezTo>
                  <a:cubicBezTo>
                    <a:pt x="46" y="37"/>
                    <a:pt x="48" y="37"/>
                    <a:pt x="50" y="38"/>
                  </a:cubicBezTo>
                  <a:cubicBezTo>
                    <a:pt x="52" y="39"/>
                    <a:pt x="53" y="40"/>
                    <a:pt x="55" y="41"/>
                  </a:cubicBezTo>
                  <a:cubicBezTo>
                    <a:pt x="56" y="42"/>
                    <a:pt x="57" y="42"/>
                    <a:pt x="58" y="44"/>
                  </a:cubicBezTo>
                  <a:cubicBezTo>
                    <a:pt x="58" y="13"/>
                    <a:pt x="58" y="13"/>
                    <a:pt x="58" y="13"/>
                  </a:cubicBezTo>
                  <a:cubicBezTo>
                    <a:pt x="84" y="0"/>
                    <a:pt x="84" y="0"/>
                    <a:pt x="84" y="0"/>
                  </a:cubicBezTo>
                  <a:cubicBezTo>
                    <a:pt x="84" y="135"/>
                    <a:pt x="84" y="135"/>
                    <a:pt x="84" y="135"/>
                  </a:cubicBezTo>
                  <a:lnTo>
                    <a:pt x="58" y="135"/>
                  </a:lnTo>
                  <a:close/>
                  <a:moveTo>
                    <a:pt x="58" y="68"/>
                  </a:moveTo>
                  <a:cubicBezTo>
                    <a:pt x="57" y="67"/>
                    <a:pt x="56" y="66"/>
                    <a:pt x="55" y="65"/>
                  </a:cubicBezTo>
                  <a:cubicBezTo>
                    <a:pt x="54" y="64"/>
                    <a:pt x="53" y="63"/>
                    <a:pt x="52" y="62"/>
                  </a:cubicBezTo>
                  <a:cubicBezTo>
                    <a:pt x="50" y="62"/>
                    <a:pt x="49" y="61"/>
                    <a:pt x="47" y="61"/>
                  </a:cubicBezTo>
                  <a:cubicBezTo>
                    <a:pt x="45" y="60"/>
                    <a:pt x="43" y="60"/>
                    <a:pt x="41" y="60"/>
                  </a:cubicBezTo>
                  <a:cubicBezTo>
                    <a:pt x="36" y="60"/>
                    <a:pt x="33" y="62"/>
                    <a:pt x="30" y="66"/>
                  </a:cubicBezTo>
                  <a:cubicBezTo>
                    <a:pt x="27" y="70"/>
                    <a:pt x="26" y="77"/>
                    <a:pt x="26" y="85"/>
                  </a:cubicBezTo>
                  <a:cubicBezTo>
                    <a:pt x="26" y="90"/>
                    <a:pt x="27" y="94"/>
                    <a:pt x="27" y="98"/>
                  </a:cubicBezTo>
                  <a:cubicBezTo>
                    <a:pt x="28" y="101"/>
                    <a:pt x="29" y="104"/>
                    <a:pt x="31" y="106"/>
                  </a:cubicBezTo>
                  <a:cubicBezTo>
                    <a:pt x="32" y="109"/>
                    <a:pt x="34" y="110"/>
                    <a:pt x="36" y="111"/>
                  </a:cubicBezTo>
                  <a:cubicBezTo>
                    <a:pt x="38" y="113"/>
                    <a:pt x="40" y="113"/>
                    <a:pt x="43" y="113"/>
                  </a:cubicBezTo>
                  <a:cubicBezTo>
                    <a:pt x="45" y="113"/>
                    <a:pt x="46" y="113"/>
                    <a:pt x="48" y="112"/>
                  </a:cubicBezTo>
                  <a:cubicBezTo>
                    <a:pt x="50" y="112"/>
                    <a:pt x="51" y="112"/>
                    <a:pt x="52" y="111"/>
                  </a:cubicBezTo>
                  <a:cubicBezTo>
                    <a:pt x="53" y="110"/>
                    <a:pt x="55" y="109"/>
                    <a:pt x="56" y="108"/>
                  </a:cubicBezTo>
                  <a:cubicBezTo>
                    <a:pt x="57" y="107"/>
                    <a:pt x="58" y="106"/>
                    <a:pt x="58" y="105"/>
                  </a:cubicBezTo>
                  <a:lnTo>
                    <a:pt x="58" y="6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5" name="Freeform 31">
              <a:extLst>
                <a:ext uri="{FF2B5EF4-FFF2-40B4-BE49-F238E27FC236}">
                  <a16:creationId xmlns:a16="http://schemas.microsoft.com/office/drawing/2014/main" id="{125CF3D1-4644-4A4C-A605-6CBB28099392}"/>
                </a:ext>
              </a:extLst>
            </p:cNvPr>
            <p:cNvSpPr>
              <a:spLocks/>
            </p:cNvSpPr>
            <p:nvPr/>
          </p:nvSpPr>
          <p:spPr bwMode="white">
            <a:xfrm>
              <a:off x="11214461" y="970279"/>
              <a:ext cx="83679" cy="112444"/>
            </a:xfrm>
            <a:custGeom>
              <a:avLst/>
              <a:gdLst>
                <a:gd name="T0" fmla="*/ 123 w 123"/>
                <a:gd name="T1" fmla="*/ 94 h 165"/>
                <a:gd name="T2" fmla="*/ 107 w 123"/>
                <a:gd name="T3" fmla="*/ 147 h 165"/>
                <a:gd name="T4" fmla="*/ 62 w 123"/>
                <a:gd name="T5" fmla="*/ 165 h 165"/>
                <a:gd name="T6" fmla="*/ 39 w 123"/>
                <a:gd name="T7" fmla="*/ 161 h 165"/>
                <a:gd name="T8" fmla="*/ 22 w 123"/>
                <a:gd name="T9" fmla="*/ 151 h 165"/>
                <a:gd name="T10" fmla="*/ 8 w 123"/>
                <a:gd name="T11" fmla="*/ 136 h 165"/>
                <a:gd name="T12" fmla="*/ 0 w 123"/>
                <a:gd name="T13" fmla="*/ 117 h 165"/>
                <a:gd name="T14" fmla="*/ 31 w 123"/>
                <a:gd name="T15" fmla="*/ 108 h 165"/>
                <a:gd name="T16" fmla="*/ 36 w 123"/>
                <a:gd name="T17" fmla="*/ 119 h 165"/>
                <a:gd name="T18" fmla="*/ 43 w 123"/>
                <a:gd name="T19" fmla="*/ 126 h 165"/>
                <a:gd name="T20" fmla="*/ 51 w 123"/>
                <a:gd name="T21" fmla="*/ 131 h 165"/>
                <a:gd name="T22" fmla="*/ 62 w 123"/>
                <a:gd name="T23" fmla="*/ 132 h 165"/>
                <a:gd name="T24" fmla="*/ 75 w 123"/>
                <a:gd name="T25" fmla="*/ 130 h 165"/>
                <a:gd name="T26" fmla="*/ 84 w 123"/>
                <a:gd name="T27" fmla="*/ 123 h 165"/>
                <a:gd name="T28" fmla="*/ 89 w 123"/>
                <a:gd name="T29" fmla="*/ 111 h 165"/>
                <a:gd name="T30" fmla="*/ 91 w 123"/>
                <a:gd name="T31" fmla="*/ 95 h 165"/>
                <a:gd name="T32" fmla="*/ 91 w 123"/>
                <a:gd name="T33" fmla="*/ 0 h 165"/>
                <a:gd name="T34" fmla="*/ 123 w 123"/>
                <a:gd name="T35" fmla="*/ 0 h 165"/>
                <a:gd name="T36" fmla="*/ 123 w 123"/>
                <a:gd name="T37" fmla="*/ 9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165">
                  <a:moveTo>
                    <a:pt x="123" y="94"/>
                  </a:moveTo>
                  <a:cubicBezTo>
                    <a:pt x="123" y="117"/>
                    <a:pt x="118" y="135"/>
                    <a:pt x="107" y="147"/>
                  </a:cubicBezTo>
                  <a:cubicBezTo>
                    <a:pt x="97" y="159"/>
                    <a:pt x="81" y="165"/>
                    <a:pt x="62" y="165"/>
                  </a:cubicBezTo>
                  <a:cubicBezTo>
                    <a:pt x="54" y="165"/>
                    <a:pt x="46" y="163"/>
                    <a:pt x="39" y="161"/>
                  </a:cubicBezTo>
                  <a:cubicBezTo>
                    <a:pt x="33" y="159"/>
                    <a:pt x="27" y="155"/>
                    <a:pt x="22" y="151"/>
                  </a:cubicBezTo>
                  <a:cubicBezTo>
                    <a:pt x="16" y="147"/>
                    <a:pt x="12" y="142"/>
                    <a:pt x="8" y="136"/>
                  </a:cubicBezTo>
                  <a:cubicBezTo>
                    <a:pt x="4" y="130"/>
                    <a:pt x="2" y="124"/>
                    <a:pt x="0" y="117"/>
                  </a:cubicBezTo>
                  <a:cubicBezTo>
                    <a:pt x="31" y="108"/>
                    <a:pt x="31" y="108"/>
                    <a:pt x="31" y="108"/>
                  </a:cubicBezTo>
                  <a:cubicBezTo>
                    <a:pt x="33" y="113"/>
                    <a:pt x="35" y="116"/>
                    <a:pt x="36" y="119"/>
                  </a:cubicBezTo>
                  <a:cubicBezTo>
                    <a:pt x="38" y="122"/>
                    <a:pt x="40" y="124"/>
                    <a:pt x="43" y="126"/>
                  </a:cubicBezTo>
                  <a:cubicBezTo>
                    <a:pt x="45" y="128"/>
                    <a:pt x="48" y="130"/>
                    <a:pt x="51" y="131"/>
                  </a:cubicBezTo>
                  <a:cubicBezTo>
                    <a:pt x="54" y="132"/>
                    <a:pt x="58" y="132"/>
                    <a:pt x="62" y="132"/>
                  </a:cubicBezTo>
                  <a:cubicBezTo>
                    <a:pt x="67" y="132"/>
                    <a:pt x="71" y="131"/>
                    <a:pt x="75" y="130"/>
                  </a:cubicBezTo>
                  <a:cubicBezTo>
                    <a:pt x="78" y="128"/>
                    <a:pt x="81" y="126"/>
                    <a:pt x="84" y="123"/>
                  </a:cubicBezTo>
                  <a:cubicBezTo>
                    <a:pt x="86" y="119"/>
                    <a:pt x="88" y="115"/>
                    <a:pt x="89" y="111"/>
                  </a:cubicBezTo>
                  <a:cubicBezTo>
                    <a:pt x="90" y="106"/>
                    <a:pt x="91" y="101"/>
                    <a:pt x="91" y="95"/>
                  </a:cubicBezTo>
                  <a:cubicBezTo>
                    <a:pt x="91" y="0"/>
                    <a:pt x="91" y="0"/>
                    <a:pt x="91" y="0"/>
                  </a:cubicBezTo>
                  <a:cubicBezTo>
                    <a:pt x="123" y="0"/>
                    <a:pt x="123" y="0"/>
                    <a:pt x="123" y="0"/>
                  </a:cubicBezTo>
                  <a:lnTo>
                    <a:pt x="123" y="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6" name="Freeform 32">
              <a:extLst>
                <a:ext uri="{FF2B5EF4-FFF2-40B4-BE49-F238E27FC236}">
                  <a16:creationId xmlns:a16="http://schemas.microsoft.com/office/drawing/2014/main" id="{5C66EC1B-AD1B-491B-A19A-A2C96C78BC6A}"/>
                </a:ext>
              </a:extLst>
            </p:cNvPr>
            <p:cNvSpPr>
              <a:spLocks noEditPoints="1"/>
            </p:cNvSpPr>
            <p:nvPr/>
          </p:nvSpPr>
          <p:spPr bwMode="white">
            <a:xfrm>
              <a:off x="11312522" y="970279"/>
              <a:ext cx="105907" cy="111137"/>
            </a:xfrm>
            <a:custGeom>
              <a:avLst/>
              <a:gdLst>
                <a:gd name="T0" fmla="*/ 81 w 81"/>
                <a:gd name="T1" fmla="*/ 85 h 85"/>
                <a:gd name="T2" fmla="*/ 63 w 81"/>
                <a:gd name="T3" fmla="*/ 85 h 85"/>
                <a:gd name="T4" fmla="*/ 56 w 81"/>
                <a:gd name="T5" fmla="*/ 66 h 85"/>
                <a:gd name="T6" fmla="*/ 24 w 81"/>
                <a:gd name="T7" fmla="*/ 66 h 85"/>
                <a:gd name="T8" fmla="*/ 18 w 81"/>
                <a:gd name="T9" fmla="*/ 85 h 85"/>
                <a:gd name="T10" fmla="*/ 0 w 81"/>
                <a:gd name="T11" fmla="*/ 85 h 85"/>
                <a:gd name="T12" fmla="*/ 32 w 81"/>
                <a:gd name="T13" fmla="*/ 0 h 85"/>
                <a:gd name="T14" fmla="*/ 49 w 81"/>
                <a:gd name="T15" fmla="*/ 0 h 85"/>
                <a:gd name="T16" fmla="*/ 81 w 81"/>
                <a:gd name="T17" fmla="*/ 85 h 85"/>
                <a:gd name="T18" fmla="*/ 50 w 81"/>
                <a:gd name="T19" fmla="*/ 50 h 85"/>
                <a:gd name="T20" fmla="*/ 40 w 81"/>
                <a:gd name="T21" fmla="*/ 22 h 85"/>
                <a:gd name="T22" fmla="*/ 31 w 81"/>
                <a:gd name="T23" fmla="*/ 50 h 85"/>
                <a:gd name="T24" fmla="*/ 50 w 81"/>
                <a:gd name="T25" fmla="*/ 5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5">
                  <a:moveTo>
                    <a:pt x="81" y="85"/>
                  </a:moveTo>
                  <a:lnTo>
                    <a:pt x="63" y="85"/>
                  </a:lnTo>
                  <a:lnTo>
                    <a:pt x="56" y="66"/>
                  </a:lnTo>
                  <a:lnTo>
                    <a:pt x="24" y="66"/>
                  </a:lnTo>
                  <a:lnTo>
                    <a:pt x="18" y="85"/>
                  </a:lnTo>
                  <a:lnTo>
                    <a:pt x="0" y="85"/>
                  </a:lnTo>
                  <a:lnTo>
                    <a:pt x="32" y="0"/>
                  </a:lnTo>
                  <a:lnTo>
                    <a:pt x="49" y="0"/>
                  </a:lnTo>
                  <a:lnTo>
                    <a:pt x="81" y="85"/>
                  </a:lnTo>
                  <a:close/>
                  <a:moveTo>
                    <a:pt x="50" y="50"/>
                  </a:moveTo>
                  <a:lnTo>
                    <a:pt x="40" y="22"/>
                  </a:lnTo>
                  <a:lnTo>
                    <a:pt x="31" y="50"/>
                  </a:lnTo>
                  <a:lnTo>
                    <a:pt x="50" y="5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7" name="Freeform 33">
              <a:extLst>
                <a:ext uri="{FF2B5EF4-FFF2-40B4-BE49-F238E27FC236}">
                  <a16:creationId xmlns:a16="http://schemas.microsoft.com/office/drawing/2014/main" id="{DE0C7275-54C1-4C0E-A900-3BA9CF18FC7F}"/>
                </a:ext>
              </a:extLst>
            </p:cNvPr>
            <p:cNvSpPr>
              <a:spLocks/>
            </p:cNvSpPr>
            <p:nvPr/>
          </p:nvSpPr>
          <p:spPr bwMode="white">
            <a:xfrm>
              <a:off x="11439349" y="970279"/>
              <a:ext cx="88909" cy="111137"/>
            </a:xfrm>
            <a:custGeom>
              <a:avLst/>
              <a:gdLst>
                <a:gd name="T0" fmla="*/ 51 w 68"/>
                <a:gd name="T1" fmla="*/ 85 h 85"/>
                <a:gd name="T2" fmla="*/ 51 w 68"/>
                <a:gd name="T3" fmla="*/ 49 h 85"/>
                <a:gd name="T4" fmla="*/ 17 w 68"/>
                <a:gd name="T5" fmla="*/ 49 h 85"/>
                <a:gd name="T6" fmla="*/ 17 w 68"/>
                <a:gd name="T7" fmla="*/ 85 h 85"/>
                <a:gd name="T8" fmla="*/ 0 w 68"/>
                <a:gd name="T9" fmla="*/ 85 h 85"/>
                <a:gd name="T10" fmla="*/ 0 w 68"/>
                <a:gd name="T11" fmla="*/ 0 h 85"/>
                <a:gd name="T12" fmla="*/ 17 w 68"/>
                <a:gd name="T13" fmla="*/ 0 h 85"/>
                <a:gd name="T14" fmla="*/ 17 w 68"/>
                <a:gd name="T15" fmla="*/ 33 h 85"/>
                <a:gd name="T16" fmla="*/ 51 w 68"/>
                <a:gd name="T17" fmla="*/ 33 h 85"/>
                <a:gd name="T18" fmla="*/ 51 w 68"/>
                <a:gd name="T19" fmla="*/ 0 h 85"/>
                <a:gd name="T20" fmla="*/ 68 w 68"/>
                <a:gd name="T21" fmla="*/ 0 h 85"/>
                <a:gd name="T22" fmla="*/ 68 w 68"/>
                <a:gd name="T23" fmla="*/ 85 h 85"/>
                <a:gd name="T24" fmla="*/ 51 w 68"/>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85">
                  <a:moveTo>
                    <a:pt x="51" y="85"/>
                  </a:moveTo>
                  <a:lnTo>
                    <a:pt x="51" y="49"/>
                  </a:lnTo>
                  <a:lnTo>
                    <a:pt x="17" y="49"/>
                  </a:lnTo>
                  <a:lnTo>
                    <a:pt x="17" y="85"/>
                  </a:lnTo>
                  <a:lnTo>
                    <a:pt x="0" y="85"/>
                  </a:lnTo>
                  <a:lnTo>
                    <a:pt x="0" y="0"/>
                  </a:lnTo>
                  <a:lnTo>
                    <a:pt x="17" y="0"/>
                  </a:lnTo>
                  <a:lnTo>
                    <a:pt x="17" y="33"/>
                  </a:lnTo>
                  <a:lnTo>
                    <a:pt x="51" y="33"/>
                  </a:lnTo>
                  <a:lnTo>
                    <a:pt x="51" y="0"/>
                  </a:lnTo>
                  <a:lnTo>
                    <a:pt x="68" y="0"/>
                  </a:lnTo>
                  <a:lnTo>
                    <a:pt x="68" y="85"/>
                  </a:lnTo>
                  <a:lnTo>
                    <a:pt x="5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8" name="Freeform 34">
              <a:extLst>
                <a:ext uri="{FF2B5EF4-FFF2-40B4-BE49-F238E27FC236}">
                  <a16:creationId xmlns:a16="http://schemas.microsoft.com/office/drawing/2014/main" id="{0A332B72-1C98-486F-B1D7-FD53CDB0B0EC}"/>
                </a:ext>
              </a:extLst>
            </p:cNvPr>
            <p:cNvSpPr>
              <a:spLocks noEditPoints="1"/>
            </p:cNvSpPr>
            <p:nvPr/>
          </p:nvSpPr>
          <p:spPr bwMode="white">
            <a:xfrm>
              <a:off x="11557023" y="970279"/>
              <a:ext cx="90217" cy="111137"/>
            </a:xfrm>
            <a:custGeom>
              <a:avLst/>
              <a:gdLst>
                <a:gd name="T0" fmla="*/ 94 w 131"/>
                <a:gd name="T1" fmla="*/ 162 h 162"/>
                <a:gd name="T2" fmla="*/ 65 w 131"/>
                <a:gd name="T3" fmla="*/ 104 h 162"/>
                <a:gd name="T4" fmla="*/ 32 w 131"/>
                <a:gd name="T5" fmla="*/ 104 h 162"/>
                <a:gd name="T6" fmla="*/ 32 w 131"/>
                <a:gd name="T7" fmla="*/ 162 h 162"/>
                <a:gd name="T8" fmla="*/ 0 w 131"/>
                <a:gd name="T9" fmla="*/ 162 h 162"/>
                <a:gd name="T10" fmla="*/ 0 w 131"/>
                <a:gd name="T11" fmla="*/ 0 h 162"/>
                <a:gd name="T12" fmla="*/ 75 w 131"/>
                <a:gd name="T13" fmla="*/ 0 h 162"/>
                <a:gd name="T14" fmla="*/ 97 w 131"/>
                <a:gd name="T15" fmla="*/ 3 h 162"/>
                <a:gd name="T16" fmla="*/ 115 w 131"/>
                <a:gd name="T17" fmla="*/ 12 h 162"/>
                <a:gd name="T18" fmla="*/ 127 w 131"/>
                <a:gd name="T19" fmla="*/ 29 h 162"/>
                <a:gd name="T20" fmla="*/ 131 w 131"/>
                <a:gd name="T21" fmla="*/ 51 h 162"/>
                <a:gd name="T22" fmla="*/ 129 w 131"/>
                <a:gd name="T23" fmla="*/ 68 h 162"/>
                <a:gd name="T24" fmla="*/ 123 w 131"/>
                <a:gd name="T25" fmla="*/ 81 h 162"/>
                <a:gd name="T26" fmla="*/ 113 w 131"/>
                <a:gd name="T27" fmla="*/ 92 h 162"/>
                <a:gd name="T28" fmla="*/ 100 w 131"/>
                <a:gd name="T29" fmla="*/ 99 h 162"/>
                <a:gd name="T30" fmla="*/ 131 w 131"/>
                <a:gd name="T31" fmla="*/ 162 h 162"/>
                <a:gd name="T32" fmla="*/ 94 w 131"/>
                <a:gd name="T33" fmla="*/ 162 h 162"/>
                <a:gd name="T34" fmla="*/ 98 w 131"/>
                <a:gd name="T35" fmla="*/ 52 h 162"/>
                <a:gd name="T36" fmla="*/ 96 w 131"/>
                <a:gd name="T37" fmla="*/ 42 h 162"/>
                <a:gd name="T38" fmla="*/ 91 w 131"/>
                <a:gd name="T39" fmla="*/ 36 h 162"/>
                <a:gd name="T40" fmla="*/ 84 w 131"/>
                <a:gd name="T41" fmla="*/ 32 h 162"/>
                <a:gd name="T42" fmla="*/ 75 w 131"/>
                <a:gd name="T43" fmla="*/ 31 h 162"/>
                <a:gd name="T44" fmla="*/ 32 w 131"/>
                <a:gd name="T45" fmla="*/ 31 h 162"/>
                <a:gd name="T46" fmla="*/ 32 w 131"/>
                <a:gd name="T47" fmla="*/ 73 h 162"/>
                <a:gd name="T48" fmla="*/ 75 w 131"/>
                <a:gd name="T49" fmla="*/ 73 h 162"/>
                <a:gd name="T50" fmla="*/ 85 w 131"/>
                <a:gd name="T51" fmla="*/ 72 h 162"/>
                <a:gd name="T52" fmla="*/ 92 w 131"/>
                <a:gd name="T53" fmla="*/ 67 h 162"/>
                <a:gd name="T54" fmla="*/ 96 w 131"/>
                <a:gd name="T55" fmla="*/ 61 h 162"/>
                <a:gd name="T56" fmla="*/ 98 w 131"/>
                <a:gd name="T57" fmla="*/ 5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 h="162">
                  <a:moveTo>
                    <a:pt x="94" y="162"/>
                  </a:moveTo>
                  <a:cubicBezTo>
                    <a:pt x="65" y="104"/>
                    <a:pt x="65" y="104"/>
                    <a:pt x="65" y="104"/>
                  </a:cubicBezTo>
                  <a:cubicBezTo>
                    <a:pt x="32" y="104"/>
                    <a:pt x="32" y="104"/>
                    <a:pt x="32" y="104"/>
                  </a:cubicBezTo>
                  <a:cubicBezTo>
                    <a:pt x="32" y="162"/>
                    <a:pt x="32" y="162"/>
                    <a:pt x="32" y="162"/>
                  </a:cubicBezTo>
                  <a:cubicBezTo>
                    <a:pt x="0" y="162"/>
                    <a:pt x="0" y="162"/>
                    <a:pt x="0" y="162"/>
                  </a:cubicBezTo>
                  <a:cubicBezTo>
                    <a:pt x="0" y="0"/>
                    <a:pt x="0" y="0"/>
                    <a:pt x="0" y="0"/>
                  </a:cubicBezTo>
                  <a:cubicBezTo>
                    <a:pt x="75" y="0"/>
                    <a:pt x="75" y="0"/>
                    <a:pt x="75" y="0"/>
                  </a:cubicBezTo>
                  <a:cubicBezTo>
                    <a:pt x="83" y="0"/>
                    <a:pt x="90" y="1"/>
                    <a:pt x="97" y="3"/>
                  </a:cubicBezTo>
                  <a:cubicBezTo>
                    <a:pt x="104" y="5"/>
                    <a:pt x="110" y="8"/>
                    <a:pt x="115" y="12"/>
                  </a:cubicBezTo>
                  <a:cubicBezTo>
                    <a:pt x="120" y="17"/>
                    <a:pt x="124" y="22"/>
                    <a:pt x="127" y="29"/>
                  </a:cubicBezTo>
                  <a:cubicBezTo>
                    <a:pt x="130" y="35"/>
                    <a:pt x="131" y="42"/>
                    <a:pt x="131" y="51"/>
                  </a:cubicBezTo>
                  <a:cubicBezTo>
                    <a:pt x="131" y="58"/>
                    <a:pt x="130" y="63"/>
                    <a:pt x="129" y="68"/>
                  </a:cubicBezTo>
                  <a:cubicBezTo>
                    <a:pt x="128" y="73"/>
                    <a:pt x="126" y="78"/>
                    <a:pt x="123" y="81"/>
                  </a:cubicBezTo>
                  <a:cubicBezTo>
                    <a:pt x="120" y="85"/>
                    <a:pt x="117" y="89"/>
                    <a:pt x="113" y="92"/>
                  </a:cubicBezTo>
                  <a:cubicBezTo>
                    <a:pt x="110" y="94"/>
                    <a:pt x="105" y="97"/>
                    <a:pt x="100" y="99"/>
                  </a:cubicBezTo>
                  <a:cubicBezTo>
                    <a:pt x="131" y="162"/>
                    <a:pt x="131" y="162"/>
                    <a:pt x="131" y="162"/>
                  </a:cubicBezTo>
                  <a:lnTo>
                    <a:pt x="94" y="162"/>
                  </a:lnTo>
                  <a:close/>
                  <a:moveTo>
                    <a:pt x="98" y="52"/>
                  </a:moveTo>
                  <a:cubicBezTo>
                    <a:pt x="98" y="48"/>
                    <a:pt x="97" y="45"/>
                    <a:pt x="96" y="42"/>
                  </a:cubicBezTo>
                  <a:cubicBezTo>
                    <a:pt x="95" y="39"/>
                    <a:pt x="93" y="37"/>
                    <a:pt x="91" y="36"/>
                  </a:cubicBezTo>
                  <a:cubicBezTo>
                    <a:pt x="89" y="34"/>
                    <a:pt x="86" y="33"/>
                    <a:pt x="84" y="32"/>
                  </a:cubicBezTo>
                  <a:cubicBezTo>
                    <a:pt x="81" y="32"/>
                    <a:pt x="78" y="31"/>
                    <a:pt x="75" y="31"/>
                  </a:cubicBezTo>
                  <a:cubicBezTo>
                    <a:pt x="32" y="31"/>
                    <a:pt x="32" y="31"/>
                    <a:pt x="32" y="31"/>
                  </a:cubicBezTo>
                  <a:cubicBezTo>
                    <a:pt x="32" y="73"/>
                    <a:pt x="32" y="73"/>
                    <a:pt x="32" y="73"/>
                  </a:cubicBezTo>
                  <a:cubicBezTo>
                    <a:pt x="75" y="73"/>
                    <a:pt x="75" y="73"/>
                    <a:pt x="75" y="73"/>
                  </a:cubicBezTo>
                  <a:cubicBezTo>
                    <a:pt x="79" y="73"/>
                    <a:pt x="82" y="72"/>
                    <a:pt x="85" y="72"/>
                  </a:cubicBezTo>
                  <a:cubicBezTo>
                    <a:pt x="88" y="71"/>
                    <a:pt x="90" y="69"/>
                    <a:pt x="92" y="67"/>
                  </a:cubicBezTo>
                  <a:cubicBezTo>
                    <a:pt x="94" y="66"/>
                    <a:pt x="95" y="64"/>
                    <a:pt x="96" y="61"/>
                  </a:cubicBezTo>
                  <a:cubicBezTo>
                    <a:pt x="97" y="58"/>
                    <a:pt x="98" y="55"/>
                    <a:pt x="98" y="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9" name="Freeform 35">
              <a:extLst>
                <a:ext uri="{FF2B5EF4-FFF2-40B4-BE49-F238E27FC236}">
                  <a16:creationId xmlns:a16="http://schemas.microsoft.com/office/drawing/2014/main" id="{B3BCF9E1-0026-4389-B268-FEF82FAE2561}"/>
                </a:ext>
              </a:extLst>
            </p:cNvPr>
            <p:cNvSpPr>
              <a:spLocks/>
            </p:cNvSpPr>
            <p:nvPr/>
          </p:nvSpPr>
          <p:spPr bwMode="white">
            <a:xfrm>
              <a:off x="11669468" y="970279"/>
              <a:ext cx="79757" cy="111137"/>
            </a:xfrm>
            <a:custGeom>
              <a:avLst/>
              <a:gdLst>
                <a:gd name="T0" fmla="*/ 61 w 61"/>
                <a:gd name="T1" fmla="*/ 85 h 85"/>
                <a:gd name="T2" fmla="*/ 0 w 61"/>
                <a:gd name="T3" fmla="*/ 85 h 85"/>
                <a:gd name="T4" fmla="*/ 0 w 61"/>
                <a:gd name="T5" fmla="*/ 0 h 85"/>
                <a:gd name="T6" fmla="*/ 59 w 61"/>
                <a:gd name="T7" fmla="*/ 0 h 85"/>
                <a:gd name="T8" fmla="*/ 59 w 61"/>
                <a:gd name="T9" fmla="*/ 16 h 85"/>
                <a:gd name="T10" fmla="*/ 18 w 61"/>
                <a:gd name="T11" fmla="*/ 16 h 85"/>
                <a:gd name="T12" fmla="*/ 18 w 61"/>
                <a:gd name="T13" fmla="*/ 31 h 85"/>
                <a:gd name="T14" fmla="*/ 52 w 61"/>
                <a:gd name="T15" fmla="*/ 31 h 85"/>
                <a:gd name="T16" fmla="*/ 52 w 61"/>
                <a:gd name="T17" fmla="*/ 48 h 85"/>
                <a:gd name="T18" fmla="*/ 18 w 61"/>
                <a:gd name="T19" fmla="*/ 48 h 85"/>
                <a:gd name="T20" fmla="*/ 18 w 61"/>
                <a:gd name="T21" fmla="*/ 68 h 85"/>
                <a:gd name="T22" fmla="*/ 61 w 61"/>
                <a:gd name="T23" fmla="*/ 68 h 85"/>
                <a:gd name="T24" fmla="*/ 61 w 61"/>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85">
                  <a:moveTo>
                    <a:pt x="61" y="85"/>
                  </a:moveTo>
                  <a:lnTo>
                    <a:pt x="0" y="85"/>
                  </a:lnTo>
                  <a:lnTo>
                    <a:pt x="0" y="0"/>
                  </a:lnTo>
                  <a:lnTo>
                    <a:pt x="59" y="0"/>
                  </a:lnTo>
                  <a:lnTo>
                    <a:pt x="59" y="16"/>
                  </a:lnTo>
                  <a:lnTo>
                    <a:pt x="18" y="16"/>
                  </a:lnTo>
                  <a:lnTo>
                    <a:pt x="18" y="31"/>
                  </a:lnTo>
                  <a:lnTo>
                    <a:pt x="52" y="31"/>
                  </a:lnTo>
                  <a:lnTo>
                    <a:pt x="52" y="48"/>
                  </a:lnTo>
                  <a:lnTo>
                    <a:pt x="18" y="48"/>
                  </a:lnTo>
                  <a:lnTo>
                    <a:pt x="18" y="68"/>
                  </a:lnTo>
                  <a:lnTo>
                    <a:pt x="61" y="68"/>
                  </a:lnTo>
                  <a:lnTo>
                    <a:pt x="61" y="8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0" name="Freeform 36">
              <a:extLst>
                <a:ext uri="{FF2B5EF4-FFF2-40B4-BE49-F238E27FC236}">
                  <a16:creationId xmlns:a16="http://schemas.microsoft.com/office/drawing/2014/main" id="{649F954E-57A5-4CCA-9CAB-F232FEBD5F36}"/>
                </a:ext>
              </a:extLst>
            </p:cNvPr>
            <p:cNvSpPr>
              <a:spLocks/>
            </p:cNvSpPr>
            <p:nvPr/>
          </p:nvSpPr>
          <p:spPr bwMode="white">
            <a:xfrm>
              <a:off x="9731769" y="1013426"/>
              <a:ext cx="261498" cy="366097"/>
            </a:xfrm>
            <a:custGeom>
              <a:avLst/>
              <a:gdLst>
                <a:gd name="T0" fmla="*/ 200 w 200"/>
                <a:gd name="T1" fmla="*/ 280 h 280"/>
                <a:gd name="T2" fmla="*/ 0 w 200"/>
                <a:gd name="T3" fmla="*/ 280 h 280"/>
                <a:gd name="T4" fmla="*/ 0 w 200"/>
                <a:gd name="T5" fmla="*/ 0 h 280"/>
                <a:gd name="T6" fmla="*/ 181 w 200"/>
                <a:gd name="T7" fmla="*/ 0 h 280"/>
                <a:gd name="T8" fmla="*/ 181 w 200"/>
                <a:gd name="T9" fmla="*/ 55 h 280"/>
                <a:gd name="T10" fmla="*/ 55 w 200"/>
                <a:gd name="T11" fmla="*/ 55 h 280"/>
                <a:gd name="T12" fmla="*/ 55 w 200"/>
                <a:gd name="T13" fmla="*/ 103 h 280"/>
                <a:gd name="T14" fmla="*/ 168 w 200"/>
                <a:gd name="T15" fmla="*/ 103 h 280"/>
                <a:gd name="T16" fmla="*/ 168 w 200"/>
                <a:gd name="T17" fmla="*/ 157 h 280"/>
                <a:gd name="T18" fmla="*/ 55 w 200"/>
                <a:gd name="T19" fmla="*/ 157 h 280"/>
                <a:gd name="T20" fmla="*/ 55 w 200"/>
                <a:gd name="T21" fmla="*/ 225 h 280"/>
                <a:gd name="T22" fmla="*/ 200 w 200"/>
                <a:gd name="T23" fmla="*/ 225 h 280"/>
                <a:gd name="T24" fmla="*/ 200 w 200"/>
                <a:gd name="T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80">
                  <a:moveTo>
                    <a:pt x="200" y="280"/>
                  </a:moveTo>
                  <a:lnTo>
                    <a:pt x="0" y="280"/>
                  </a:lnTo>
                  <a:lnTo>
                    <a:pt x="0" y="0"/>
                  </a:lnTo>
                  <a:lnTo>
                    <a:pt x="181" y="0"/>
                  </a:lnTo>
                  <a:lnTo>
                    <a:pt x="181" y="55"/>
                  </a:lnTo>
                  <a:lnTo>
                    <a:pt x="55" y="55"/>
                  </a:lnTo>
                  <a:lnTo>
                    <a:pt x="55" y="103"/>
                  </a:lnTo>
                  <a:lnTo>
                    <a:pt x="168" y="103"/>
                  </a:lnTo>
                  <a:lnTo>
                    <a:pt x="168" y="157"/>
                  </a:lnTo>
                  <a:lnTo>
                    <a:pt x="55" y="157"/>
                  </a:lnTo>
                  <a:lnTo>
                    <a:pt x="55" y="225"/>
                  </a:lnTo>
                  <a:lnTo>
                    <a:pt x="200" y="225"/>
                  </a:lnTo>
                  <a:lnTo>
                    <a:pt x="200" y="28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1" name="Freeform 37">
              <a:extLst>
                <a:ext uri="{FF2B5EF4-FFF2-40B4-BE49-F238E27FC236}">
                  <a16:creationId xmlns:a16="http://schemas.microsoft.com/office/drawing/2014/main" id="{6DE56CC7-4BD4-440A-97FD-A8FAEC415494}"/>
                </a:ext>
              </a:extLst>
            </p:cNvPr>
            <p:cNvSpPr>
              <a:spLocks/>
            </p:cNvSpPr>
            <p:nvPr/>
          </p:nvSpPr>
          <p:spPr bwMode="white">
            <a:xfrm>
              <a:off x="9981497" y="1013426"/>
              <a:ext cx="334717" cy="366097"/>
            </a:xfrm>
            <a:custGeom>
              <a:avLst/>
              <a:gdLst>
                <a:gd name="T0" fmla="*/ 256 w 256"/>
                <a:gd name="T1" fmla="*/ 0 h 280"/>
                <a:gd name="T2" fmla="*/ 156 w 256"/>
                <a:gd name="T3" fmla="*/ 157 h 280"/>
                <a:gd name="T4" fmla="*/ 156 w 256"/>
                <a:gd name="T5" fmla="*/ 280 h 280"/>
                <a:gd name="T6" fmla="*/ 100 w 256"/>
                <a:gd name="T7" fmla="*/ 280 h 280"/>
                <a:gd name="T8" fmla="*/ 100 w 256"/>
                <a:gd name="T9" fmla="*/ 159 h 280"/>
                <a:gd name="T10" fmla="*/ 0 w 256"/>
                <a:gd name="T11" fmla="*/ 0 h 280"/>
                <a:gd name="T12" fmla="*/ 64 w 256"/>
                <a:gd name="T13" fmla="*/ 0 h 280"/>
                <a:gd name="T14" fmla="*/ 128 w 256"/>
                <a:gd name="T15" fmla="*/ 106 h 280"/>
                <a:gd name="T16" fmla="*/ 192 w 256"/>
                <a:gd name="T17" fmla="*/ 0 h 280"/>
                <a:gd name="T18" fmla="*/ 256 w 256"/>
                <a:gd name="T1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80">
                  <a:moveTo>
                    <a:pt x="256" y="0"/>
                  </a:moveTo>
                  <a:lnTo>
                    <a:pt x="156" y="157"/>
                  </a:lnTo>
                  <a:lnTo>
                    <a:pt x="156" y="280"/>
                  </a:lnTo>
                  <a:lnTo>
                    <a:pt x="100" y="280"/>
                  </a:lnTo>
                  <a:lnTo>
                    <a:pt x="100" y="159"/>
                  </a:lnTo>
                  <a:lnTo>
                    <a:pt x="0" y="0"/>
                  </a:lnTo>
                  <a:lnTo>
                    <a:pt x="64" y="0"/>
                  </a:lnTo>
                  <a:lnTo>
                    <a:pt x="128" y="106"/>
                  </a:lnTo>
                  <a:lnTo>
                    <a:pt x="192" y="0"/>
                  </a:lnTo>
                  <a:lnTo>
                    <a:pt x="25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2" name="Freeform 38">
              <a:extLst>
                <a:ext uri="{FF2B5EF4-FFF2-40B4-BE49-F238E27FC236}">
                  <a16:creationId xmlns:a16="http://schemas.microsoft.com/office/drawing/2014/main" id="{658A3BBD-2F70-448C-911B-74A58B3D4525}"/>
                </a:ext>
              </a:extLst>
            </p:cNvPr>
            <p:cNvSpPr>
              <a:spLocks noEditPoints="1"/>
            </p:cNvSpPr>
            <p:nvPr/>
          </p:nvSpPr>
          <p:spPr bwMode="white">
            <a:xfrm>
              <a:off x="10199846" y="638177"/>
              <a:ext cx="1435622" cy="1039454"/>
            </a:xfrm>
            <a:custGeom>
              <a:avLst/>
              <a:gdLst>
                <a:gd name="T0" fmla="*/ 0 w 2104"/>
                <a:gd name="T1" fmla="*/ 293 h 1521"/>
                <a:gd name="T2" fmla="*/ 243 w 2104"/>
                <a:gd name="T3" fmla="*/ 139 h 1521"/>
                <a:gd name="T4" fmla="*/ 243 w 2104"/>
                <a:gd name="T5" fmla="*/ 191 h 1521"/>
                <a:gd name="T6" fmla="*/ 176 w 2104"/>
                <a:gd name="T7" fmla="*/ 1056 h 1521"/>
                <a:gd name="T8" fmla="*/ 279 w 2104"/>
                <a:gd name="T9" fmla="*/ 25 h 1521"/>
                <a:gd name="T10" fmla="*/ 1557 w 2104"/>
                <a:gd name="T11" fmla="*/ 1144 h 1521"/>
                <a:gd name="T12" fmla="*/ 1557 w 2104"/>
                <a:gd name="T13" fmla="*/ 1108 h 1521"/>
                <a:gd name="T14" fmla="*/ 1557 w 2104"/>
                <a:gd name="T15" fmla="*/ 1072 h 1521"/>
                <a:gd name="T16" fmla="*/ 1557 w 2104"/>
                <a:gd name="T17" fmla="*/ 1035 h 1521"/>
                <a:gd name="T18" fmla="*/ 1557 w 2104"/>
                <a:gd name="T19" fmla="*/ 1000 h 1521"/>
                <a:gd name="T20" fmla="*/ 1186 w 2104"/>
                <a:gd name="T21" fmla="*/ 465 h 1521"/>
                <a:gd name="T22" fmla="*/ 1915 w 2104"/>
                <a:gd name="T23" fmla="*/ 372 h 1521"/>
                <a:gd name="T24" fmla="*/ 1099 w 2104"/>
                <a:gd name="T25" fmla="*/ 499 h 1521"/>
                <a:gd name="T26" fmla="*/ 1977 w 2104"/>
                <a:gd name="T27" fmla="*/ 426 h 1521"/>
                <a:gd name="T28" fmla="*/ 1089 w 2104"/>
                <a:gd name="T29" fmla="*/ 421 h 1521"/>
                <a:gd name="T30" fmla="*/ 1565 w 2104"/>
                <a:gd name="T31" fmla="*/ 60 h 1521"/>
                <a:gd name="T32" fmla="*/ 1565 w 2104"/>
                <a:gd name="T33" fmla="*/ 24 h 1521"/>
                <a:gd name="T34" fmla="*/ 556 w 2104"/>
                <a:gd name="T35" fmla="*/ 485 h 1521"/>
                <a:gd name="T36" fmla="*/ 468 w 2104"/>
                <a:gd name="T37" fmla="*/ 41 h 1521"/>
                <a:gd name="T38" fmla="*/ 388 w 2104"/>
                <a:gd name="T39" fmla="*/ 106 h 1521"/>
                <a:gd name="T40" fmla="*/ 351 w 2104"/>
                <a:gd name="T41" fmla="*/ 760 h 1521"/>
                <a:gd name="T42" fmla="*/ 316 w 2104"/>
                <a:gd name="T43" fmla="*/ 70 h 1521"/>
                <a:gd name="T44" fmla="*/ 434 w 2104"/>
                <a:gd name="T45" fmla="*/ 1086 h 1521"/>
                <a:gd name="T46" fmla="*/ 885 w 2104"/>
                <a:gd name="T47" fmla="*/ 487 h 1521"/>
                <a:gd name="T48" fmla="*/ 885 w 2104"/>
                <a:gd name="T49" fmla="*/ 523 h 1521"/>
                <a:gd name="T50" fmla="*/ 568 w 2104"/>
                <a:gd name="T51" fmla="*/ 1056 h 1521"/>
                <a:gd name="T52" fmla="*/ 885 w 2104"/>
                <a:gd name="T53" fmla="*/ 559 h 1521"/>
                <a:gd name="T54" fmla="*/ 1089 w 2104"/>
                <a:gd name="T55" fmla="*/ 534 h 1521"/>
                <a:gd name="T56" fmla="*/ 1299 w 2104"/>
                <a:gd name="T57" fmla="*/ 996 h 1521"/>
                <a:gd name="T58" fmla="*/ 672 w 2104"/>
                <a:gd name="T59" fmla="*/ 1250 h 1521"/>
                <a:gd name="T60" fmla="*/ 894 w 2104"/>
                <a:gd name="T61" fmla="*/ 1377 h 1521"/>
                <a:gd name="T62" fmla="*/ 895 w 2104"/>
                <a:gd name="T63" fmla="*/ 1413 h 1521"/>
                <a:gd name="T64" fmla="*/ 619 w 2104"/>
                <a:gd name="T65" fmla="*/ 1361 h 1521"/>
                <a:gd name="T66" fmla="*/ 1382 w 2104"/>
                <a:gd name="T67" fmla="*/ 1152 h 1521"/>
                <a:gd name="T68" fmla="*/ 509 w 2104"/>
                <a:gd name="T69" fmla="*/ 1325 h 1521"/>
                <a:gd name="T70" fmla="*/ 1416 w 2104"/>
                <a:gd name="T71" fmla="*/ 1162 h 1521"/>
                <a:gd name="T72" fmla="*/ 2062 w 2104"/>
                <a:gd name="T73" fmla="*/ 711 h 1521"/>
                <a:gd name="T74" fmla="*/ 386 w 2104"/>
                <a:gd name="T75" fmla="*/ 950 h 1521"/>
                <a:gd name="T76" fmla="*/ 351 w 2104"/>
                <a:gd name="T77" fmla="*/ 968 h 1521"/>
                <a:gd name="T78" fmla="*/ 885 w 2104"/>
                <a:gd name="T79" fmla="*/ 415 h 1521"/>
                <a:gd name="T80" fmla="*/ 1162 w 2104"/>
                <a:gd name="T81" fmla="*/ 535 h 1521"/>
                <a:gd name="T82" fmla="*/ 1420 w 2104"/>
                <a:gd name="T83" fmla="*/ 978 h 1521"/>
                <a:gd name="T84" fmla="*/ 1162 w 2104"/>
                <a:gd name="T85" fmla="*/ 535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4" h="1521">
                  <a:moveTo>
                    <a:pt x="268" y="12"/>
                  </a:moveTo>
                  <a:cubicBezTo>
                    <a:pt x="259" y="12"/>
                    <a:pt x="252" y="20"/>
                    <a:pt x="246" y="26"/>
                  </a:cubicBezTo>
                  <a:cubicBezTo>
                    <a:pt x="0" y="293"/>
                    <a:pt x="0" y="293"/>
                    <a:pt x="0" y="293"/>
                  </a:cubicBezTo>
                  <a:cubicBezTo>
                    <a:pt x="4" y="303"/>
                    <a:pt x="25" y="320"/>
                    <a:pt x="51" y="291"/>
                  </a:cubicBezTo>
                  <a:cubicBezTo>
                    <a:pt x="66" y="276"/>
                    <a:pt x="243" y="80"/>
                    <a:pt x="243" y="80"/>
                  </a:cubicBezTo>
                  <a:cubicBezTo>
                    <a:pt x="243" y="139"/>
                    <a:pt x="243" y="139"/>
                    <a:pt x="243" y="139"/>
                  </a:cubicBezTo>
                  <a:cubicBezTo>
                    <a:pt x="227" y="157"/>
                    <a:pt x="76" y="322"/>
                    <a:pt x="60" y="338"/>
                  </a:cubicBezTo>
                  <a:cubicBezTo>
                    <a:pt x="38" y="360"/>
                    <a:pt x="46" y="383"/>
                    <a:pt x="59" y="392"/>
                  </a:cubicBezTo>
                  <a:cubicBezTo>
                    <a:pt x="243" y="191"/>
                    <a:pt x="243" y="191"/>
                    <a:pt x="243" y="191"/>
                  </a:cubicBezTo>
                  <a:cubicBezTo>
                    <a:pt x="243" y="983"/>
                    <a:pt x="243" y="983"/>
                    <a:pt x="243" y="983"/>
                  </a:cubicBezTo>
                  <a:cubicBezTo>
                    <a:pt x="243" y="1029"/>
                    <a:pt x="228" y="1059"/>
                    <a:pt x="200" y="1059"/>
                  </a:cubicBezTo>
                  <a:cubicBezTo>
                    <a:pt x="187" y="1059"/>
                    <a:pt x="181" y="1057"/>
                    <a:pt x="176" y="1056"/>
                  </a:cubicBezTo>
                  <a:cubicBezTo>
                    <a:pt x="170" y="1070"/>
                    <a:pt x="180" y="1090"/>
                    <a:pt x="208" y="1090"/>
                  </a:cubicBezTo>
                  <a:cubicBezTo>
                    <a:pt x="268" y="1090"/>
                    <a:pt x="279" y="1027"/>
                    <a:pt x="279" y="983"/>
                  </a:cubicBezTo>
                  <a:cubicBezTo>
                    <a:pt x="279" y="25"/>
                    <a:pt x="279" y="25"/>
                    <a:pt x="279" y="25"/>
                  </a:cubicBezTo>
                  <a:cubicBezTo>
                    <a:pt x="279" y="18"/>
                    <a:pt x="275" y="12"/>
                    <a:pt x="268" y="12"/>
                  </a:cubicBezTo>
                  <a:close/>
                  <a:moveTo>
                    <a:pt x="2062" y="711"/>
                  </a:moveTo>
                  <a:cubicBezTo>
                    <a:pt x="2072" y="820"/>
                    <a:pt x="1941" y="1144"/>
                    <a:pt x="1557" y="1144"/>
                  </a:cubicBezTo>
                  <a:cubicBezTo>
                    <a:pt x="1472" y="1144"/>
                    <a:pt x="1403" y="1124"/>
                    <a:pt x="1361" y="1105"/>
                  </a:cubicBezTo>
                  <a:cubicBezTo>
                    <a:pt x="1364" y="1094"/>
                    <a:pt x="1367" y="1083"/>
                    <a:pt x="1370" y="1072"/>
                  </a:cubicBezTo>
                  <a:cubicBezTo>
                    <a:pt x="1423" y="1094"/>
                    <a:pt x="1482" y="1108"/>
                    <a:pt x="1557" y="1108"/>
                  </a:cubicBezTo>
                  <a:cubicBezTo>
                    <a:pt x="1871" y="1108"/>
                    <a:pt x="1988" y="879"/>
                    <a:pt x="2010" y="795"/>
                  </a:cubicBezTo>
                  <a:cubicBezTo>
                    <a:pt x="2025" y="742"/>
                    <a:pt x="2018" y="711"/>
                    <a:pt x="1981" y="711"/>
                  </a:cubicBezTo>
                  <a:cubicBezTo>
                    <a:pt x="1994" y="785"/>
                    <a:pt x="1899" y="1072"/>
                    <a:pt x="1557" y="1072"/>
                  </a:cubicBezTo>
                  <a:cubicBezTo>
                    <a:pt x="1490" y="1072"/>
                    <a:pt x="1431" y="1059"/>
                    <a:pt x="1377" y="1037"/>
                  </a:cubicBezTo>
                  <a:cubicBezTo>
                    <a:pt x="1379" y="1026"/>
                    <a:pt x="1380" y="1014"/>
                    <a:pt x="1382" y="1003"/>
                  </a:cubicBezTo>
                  <a:cubicBezTo>
                    <a:pt x="1420" y="1018"/>
                    <a:pt x="1479" y="1035"/>
                    <a:pt x="1557" y="1035"/>
                  </a:cubicBezTo>
                  <a:cubicBezTo>
                    <a:pt x="1794" y="1035"/>
                    <a:pt x="1908" y="877"/>
                    <a:pt x="1932" y="781"/>
                  </a:cubicBezTo>
                  <a:cubicBezTo>
                    <a:pt x="1943" y="739"/>
                    <a:pt x="1936" y="711"/>
                    <a:pt x="1902" y="711"/>
                  </a:cubicBezTo>
                  <a:cubicBezTo>
                    <a:pt x="1910" y="784"/>
                    <a:pt x="1826" y="1000"/>
                    <a:pt x="1557" y="1000"/>
                  </a:cubicBezTo>
                  <a:cubicBezTo>
                    <a:pt x="1519" y="1000"/>
                    <a:pt x="1484" y="995"/>
                    <a:pt x="1455" y="988"/>
                  </a:cubicBezTo>
                  <a:cubicBezTo>
                    <a:pt x="1456" y="975"/>
                    <a:pt x="1456" y="960"/>
                    <a:pt x="1456" y="950"/>
                  </a:cubicBezTo>
                  <a:cubicBezTo>
                    <a:pt x="1456" y="749"/>
                    <a:pt x="1351" y="567"/>
                    <a:pt x="1186" y="465"/>
                  </a:cubicBezTo>
                  <a:cubicBezTo>
                    <a:pt x="1249" y="318"/>
                    <a:pt x="1390" y="204"/>
                    <a:pt x="1565" y="204"/>
                  </a:cubicBezTo>
                  <a:cubicBezTo>
                    <a:pt x="1787" y="204"/>
                    <a:pt x="1886" y="374"/>
                    <a:pt x="1896" y="426"/>
                  </a:cubicBezTo>
                  <a:cubicBezTo>
                    <a:pt x="1919" y="426"/>
                    <a:pt x="1925" y="395"/>
                    <a:pt x="1915" y="372"/>
                  </a:cubicBezTo>
                  <a:cubicBezTo>
                    <a:pt x="1892" y="314"/>
                    <a:pt x="1782" y="169"/>
                    <a:pt x="1565" y="169"/>
                  </a:cubicBezTo>
                  <a:cubicBezTo>
                    <a:pt x="1348" y="169"/>
                    <a:pt x="1187" y="321"/>
                    <a:pt x="1131" y="516"/>
                  </a:cubicBezTo>
                  <a:cubicBezTo>
                    <a:pt x="1121" y="510"/>
                    <a:pt x="1110" y="504"/>
                    <a:pt x="1099" y="499"/>
                  </a:cubicBezTo>
                  <a:cubicBezTo>
                    <a:pt x="1107" y="476"/>
                    <a:pt x="1114" y="453"/>
                    <a:pt x="1122" y="434"/>
                  </a:cubicBezTo>
                  <a:cubicBezTo>
                    <a:pt x="1192" y="257"/>
                    <a:pt x="1361" y="132"/>
                    <a:pt x="1565" y="132"/>
                  </a:cubicBezTo>
                  <a:cubicBezTo>
                    <a:pt x="1836" y="132"/>
                    <a:pt x="1966" y="343"/>
                    <a:pt x="1977" y="426"/>
                  </a:cubicBezTo>
                  <a:cubicBezTo>
                    <a:pt x="1997" y="426"/>
                    <a:pt x="2012" y="403"/>
                    <a:pt x="2003" y="378"/>
                  </a:cubicBezTo>
                  <a:cubicBezTo>
                    <a:pt x="1975" y="301"/>
                    <a:pt x="1856" y="96"/>
                    <a:pt x="1565" y="96"/>
                  </a:cubicBezTo>
                  <a:cubicBezTo>
                    <a:pt x="1346" y="96"/>
                    <a:pt x="1164" y="231"/>
                    <a:pt x="1089" y="421"/>
                  </a:cubicBezTo>
                  <a:cubicBezTo>
                    <a:pt x="1082" y="437"/>
                    <a:pt x="1074" y="460"/>
                    <a:pt x="1066" y="485"/>
                  </a:cubicBezTo>
                  <a:cubicBezTo>
                    <a:pt x="1056" y="481"/>
                    <a:pt x="1046" y="477"/>
                    <a:pt x="1036" y="474"/>
                  </a:cubicBezTo>
                  <a:cubicBezTo>
                    <a:pt x="1086" y="263"/>
                    <a:pt x="1283" y="60"/>
                    <a:pt x="1565" y="60"/>
                  </a:cubicBezTo>
                  <a:cubicBezTo>
                    <a:pt x="1936" y="60"/>
                    <a:pt x="2057" y="372"/>
                    <a:pt x="2058" y="426"/>
                  </a:cubicBezTo>
                  <a:cubicBezTo>
                    <a:pt x="2084" y="426"/>
                    <a:pt x="2093" y="398"/>
                    <a:pt x="2085" y="372"/>
                  </a:cubicBezTo>
                  <a:cubicBezTo>
                    <a:pt x="2058" y="289"/>
                    <a:pt x="1922" y="24"/>
                    <a:pt x="1565" y="24"/>
                  </a:cubicBezTo>
                  <a:cubicBezTo>
                    <a:pt x="1298" y="24"/>
                    <a:pt x="1105" y="187"/>
                    <a:pt x="1024" y="396"/>
                  </a:cubicBezTo>
                  <a:cubicBezTo>
                    <a:pt x="979" y="385"/>
                    <a:pt x="932" y="379"/>
                    <a:pt x="885" y="379"/>
                  </a:cubicBezTo>
                  <a:cubicBezTo>
                    <a:pt x="766" y="379"/>
                    <a:pt x="653" y="416"/>
                    <a:pt x="556" y="485"/>
                  </a:cubicBezTo>
                  <a:cubicBezTo>
                    <a:pt x="505" y="522"/>
                    <a:pt x="460" y="566"/>
                    <a:pt x="424" y="616"/>
                  </a:cubicBezTo>
                  <a:cubicBezTo>
                    <a:pt x="424" y="106"/>
                    <a:pt x="424" y="106"/>
                    <a:pt x="424" y="106"/>
                  </a:cubicBezTo>
                  <a:cubicBezTo>
                    <a:pt x="424" y="60"/>
                    <a:pt x="439" y="41"/>
                    <a:pt x="468" y="41"/>
                  </a:cubicBezTo>
                  <a:cubicBezTo>
                    <a:pt x="480" y="41"/>
                    <a:pt x="486" y="43"/>
                    <a:pt x="491" y="44"/>
                  </a:cubicBezTo>
                  <a:cubicBezTo>
                    <a:pt x="497" y="30"/>
                    <a:pt x="487" y="10"/>
                    <a:pt x="459" y="10"/>
                  </a:cubicBezTo>
                  <a:cubicBezTo>
                    <a:pt x="399" y="10"/>
                    <a:pt x="388" y="62"/>
                    <a:pt x="388" y="106"/>
                  </a:cubicBezTo>
                  <a:cubicBezTo>
                    <a:pt x="388" y="106"/>
                    <a:pt x="388" y="518"/>
                    <a:pt x="388" y="672"/>
                  </a:cubicBezTo>
                  <a:cubicBezTo>
                    <a:pt x="388" y="673"/>
                    <a:pt x="387" y="674"/>
                    <a:pt x="387" y="675"/>
                  </a:cubicBezTo>
                  <a:cubicBezTo>
                    <a:pt x="377" y="692"/>
                    <a:pt x="362" y="729"/>
                    <a:pt x="351" y="760"/>
                  </a:cubicBezTo>
                  <a:cubicBezTo>
                    <a:pt x="351" y="84"/>
                    <a:pt x="351" y="84"/>
                    <a:pt x="351" y="84"/>
                  </a:cubicBezTo>
                  <a:cubicBezTo>
                    <a:pt x="351" y="41"/>
                    <a:pt x="361" y="26"/>
                    <a:pt x="369" y="19"/>
                  </a:cubicBezTo>
                  <a:cubicBezTo>
                    <a:pt x="365" y="5"/>
                    <a:pt x="316" y="0"/>
                    <a:pt x="316" y="70"/>
                  </a:cubicBezTo>
                  <a:cubicBezTo>
                    <a:pt x="316" y="103"/>
                    <a:pt x="316" y="984"/>
                    <a:pt x="316" y="984"/>
                  </a:cubicBezTo>
                  <a:cubicBezTo>
                    <a:pt x="316" y="1060"/>
                    <a:pt x="351" y="1091"/>
                    <a:pt x="389" y="1091"/>
                  </a:cubicBezTo>
                  <a:cubicBezTo>
                    <a:pt x="405" y="1091"/>
                    <a:pt x="422" y="1088"/>
                    <a:pt x="434" y="1086"/>
                  </a:cubicBezTo>
                  <a:cubicBezTo>
                    <a:pt x="440" y="1084"/>
                    <a:pt x="444" y="1077"/>
                    <a:pt x="442" y="1071"/>
                  </a:cubicBezTo>
                  <a:cubicBezTo>
                    <a:pt x="430" y="1040"/>
                    <a:pt x="422" y="998"/>
                    <a:pt x="422" y="950"/>
                  </a:cubicBezTo>
                  <a:cubicBezTo>
                    <a:pt x="422" y="694"/>
                    <a:pt x="630" y="487"/>
                    <a:pt x="885" y="487"/>
                  </a:cubicBezTo>
                  <a:cubicBezTo>
                    <a:pt x="946" y="487"/>
                    <a:pt x="1003" y="498"/>
                    <a:pt x="1057" y="519"/>
                  </a:cubicBezTo>
                  <a:cubicBezTo>
                    <a:pt x="1053" y="530"/>
                    <a:pt x="1051" y="542"/>
                    <a:pt x="1048" y="553"/>
                  </a:cubicBezTo>
                  <a:cubicBezTo>
                    <a:pt x="1008" y="537"/>
                    <a:pt x="955" y="523"/>
                    <a:pt x="885" y="523"/>
                  </a:cubicBezTo>
                  <a:cubicBezTo>
                    <a:pt x="650" y="523"/>
                    <a:pt x="458" y="715"/>
                    <a:pt x="458" y="950"/>
                  </a:cubicBezTo>
                  <a:cubicBezTo>
                    <a:pt x="458" y="1011"/>
                    <a:pt x="475" y="1090"/>
                    <a:pt x="535" y="1090"/>
                  </a:cubicBezTo>
                  <a:cubicBezTo>
                    <a:pt x="564" y="1090"/>
                    <a:pt x="574" y="1070"/>
                    <a:pt x="568" y="1056"/>
                  </a:cubicBezTo>
                  <a:cubicBezTo>
                    <a:pt x="562" y="1057"/>
                    <a:pt x="556" y="1059"/>
                    <a:pt x="544" y="1059"/>
                  </a:cubicBezTo>
                  <a:cubicBezTo>
                    <a:pt x="516" y="1059"/>
                    <a:pt x="494" y="1021"/>
                    <a:pt x="494" y="950"/>
                  </a:cubicBezTo>
                  <a:cubicBezTo>
                    <a:pt x="494" y="734"/>
                    <a:pt x="669" y="559"/>
                    <a:pt x="885" y="559"/>
                  </a:cubicBezTo>
                  <a:cubicBezTo>
                    <a:pt x="959" y="559"/>
                    <a:pt x="1016" y="577"/>
                    <a:pt x="1056" y="597"/>
                  </a:cubicBezTo>
                  <a:cubicBezTo>
                    <a:pt x="1065" y="601"/>
                    <a:pt x="1075" y="595"/>
                    <a:pt x="1077" y="585"/>
                  </a:cubicBezTo>
                  <a:cubicBezTo>
                    <a:pt x="1079" y="571"/>
                    <a:pt x="1084" y="553"/>
                    <a:pt x="1089" y="534"/>
                  </a:cubicBezTo>
                  <a:cubicBezTo>
                    <a:pt x="1243" y="609"/>
                    <a:pt x="1349" y="768"/>
                    <a:pt x="1349" y="950"/>
                  </a:cubicBezTo>
                  <a:cubicBezTo>
                    <a:pt x="1349" y="974"/>
                    <a:pt x="1347" y="998"/>
                    <a:pt x="1343" y="1021"/>
                  </a:cubicBezTo>
                  <a:cubicBezTo>
                    <a:pt x="1328" y="1014"/>
                    <a:pt x="1314" y="1005"/>
                    <a:pt x="1299" y="996"/>
                  </a:cubicBezTo>
                  <a:cubicBezTo>
                    <a:pt x="1283" y="987"/>
                    <a:pt x="1274" y="994"/>
                    <a:pt x="1272" y="1009"/>
                  </a:cubicBezTo>
                  <a:cubicBezTo>
                    <a:pt x="1244" y="1200"/>
                    <a:pt x="1086" y="1341"/>
                    <a:pt x="894" y="1341"/>
                  </a:cubicBezTo>
                  <a:cubicBezTo>
                    <a:pt x="763" y="1341"/>
                    <a:pt x="691" y="1290"/>
                    <a:pt x="672" y="1250"/>
                  </a:cubicBezTo>
                  <a:cubicBezTo>
                    <a:pt x="662" y="1253"/>
                    <a:pt x="654" y="1262"/>
                    <a:pt x="654" y="1276"/>
                  </a:cubicBezTo>
                  <a:cubicBezTo>
                    <a:pt x="654" y="1300"/>
                    <a:pt x="694" y="1327"/>
                    <a:pt x="721" y="1340"/>
                  </a:cubicBezTo>
                  <a:cubicBezTo>
                    <a:pt x="761" y="1360"/>
                    <a:pt x="815" y="1377"/>
                    <a:pt x="894" y="1377"/>
                  </a:cubicBezTo>
                  <a:cubicBezTo>
                    <a:pt x="1095" y="1377"/>
                    <a:pt x="1261" y="1235"/>
                    <a:pt x="1303" y="1040"/>
                  </a:cubicBezTo>
                  <a:cubicBezTo>
                    <a:pt x="1314" y="1046"/>
                    <a:pt x="1325" y="1052"/>
                    <a:pt x="1337" y="1058"/>
                  </a:cubicBezTo>
                  <a:cubicBezTo>
                    <a:pt x="1290" y="1261"/>
                    <a:pt x="1113" y="1413"/>
                    <a:pt x="895" y="1413"/>
                  </a:cubicBezTo>
                  <a:cubicBezTo>
                    <a:pt x="713" y="1413"/>
                    <a:pt x="621" y="1325"/>
                    <a:pt x="616" y="1296"/>
                  </a:cubicBezTo>
                  <a:cubicBezTo>
                    <a:pt x="602" y="1296"/>
                    <a:pt x="594" y="1307"/>
                    <a:pt x="594" y="1320"/>
                  </a:cubicBezTo>
                  <a:cubicBezTo>
                    <a:pt x="594" y="1335"/>
                    <a:pt x="606" y="1350"/>
                    <a:pt x="619" y="1361"/>
                  </a:cubicBezTo>
                  <a:cubicBezTo>
                    <a:pt x="653" y="1392"/>
                    <a:pt x="738" y="1449"/>
                    <a:pt x="895" y="1449"/>
                  </a:cubicBezTo>
                  <a:cubicBezTo>
                    <a:pt x="1103" y="1449"/>
                    <a:pt x="1277" y="1320"/>
                    <a:pt x="1349" y="1138"/>
                  </a:cubicBezTo>
                  <a:cubicBezTo>
                    <a:pt x="1359" y="1143"/>
                    <a:pt x="1371" y="1147"/>
                    <a:pt x="1382" y="1152"/>
                  </a:cubicBezTo>
                  <a:cubicBezTo>
                    <a:pt x="1304" y="1348"/>
                    <a:pt x="1116" y="1485"/>
                    <a:pt x="894" y="1485"/>
                  </a:cubicBezTo>
                  <a:cubicBezTo>
                    <a:pt x="688" y="1485"/>
                    <a:pt x="549" y="1379"/>
                    <a:pt x="534" y="1297"/>
                  </a:cubicBezTo>
                  <a:cubicBezTo>
                    <a:pt x="522" y="1297"/>
                    <a:pt x="509" y="1308"/>
                    <a:pt x="509" y="1325"/>
                  </a:cubicBezTo>
                  <a:cubicBezTo>
                    <a:pt x="509" y="1338"/>
                    <a:pt x="520" y="1357"/>
                    <a:pt x="523" y="1362"/>
                  </a:cubicBezTo>
                  <a:cubicBezTo>
                    <a:pt x="554" y="1410"/>
                    <a:pt x="665" y="1521"/>
                    <a:pt x="894" y="1521"/>
                  </a:cubicBezTo>
                  <a:cubicBezTo>
                    <a:pt x="1132" y="1521"/>
                    <a:pt x="1334" y="1373"/>
                    <a:pt x="1416" y="1162"/>
                  </a:cubicBezTo>
                  <a:cubicBezTo>
                    <a:pt x="1455" y="1173"/>
                    <a:pt x="1501" y="1179"/>
                    <a:pt x="1557" y="1179"/>
                  </a:cubicBezTo>
                  <a:cubicBezTo>
                    <a:pt x="1928" y="1179"/>
                    <a:pt x="2065" y="901"/>
                    <a:pt x="2089" y="800"/>
                  </a:cubicBezTo>
                  <a:cubicBezTo>
                    <a:pt x="2104" y="734"/>
                    <a:pt x="2096" y="711"/>
                    <a:pt x="2062" y="711"/>
                  </a:cubicBezTo>
                  <a:close/>
                  <a:moveTo>
                    <a:pt x="1002" y="465"/>
                  </a:moveTo>
                  <a:cubicBezTo>
                    <a:pt x="964" y="456"/>
                    <a:pt x="925" y="451"/>
                    <a:pt x="885" y="451"/>
                  </a:cubicBezTo>
                  <a:cubicBezTo>
                    <a:pt x="610" y="451"/>
                    <a:pt x="386" y="675"/>
                    <a:pt x="386" y="950"/>
                  </a:cubicBezTo>
                  <a:cubicBezTo>
                    <a:pt x="386" y="982"/>
                    <a:pt x="388" y="1021"/>
                    <a:pt x="400" y="1055"/>
                  </a:cubicBezTo>
                  <a:cubicBezTo>
                    <a:pt x="364" y="1065"/>
                    <a:pt x="351" y="1028"/>
                    <a:pt x="351" y="984"/>
                  </a:cubicBezTo>
                  <a:cubicBezTo>
                    <a:pt x="351" y="984"/>
                    <a:pt x="351" y="979"/>
                    <a:pt x="351" y="968"/>
                  </a:cubicBezTo>
                  <a:cubicBezTo>
                    <a:pt x="354" y="837"/>
                    <a:pt x="385" y="763"/>
                    <a:pt x="385" y="763"/>
                  </a:cubicBezTo>
                  <a:cubicBezTo>
                    <a:pt x="422" y="661"/>
                    <a:pt x="490" y="577"/>
                    <a:pt x="577" y="514"/>
                  </a:cubicBezTo>
                  <a:cubicBezTo>
                    <a:pt x="667" y="449"/>
                    <a:pt x="774" y="415"/>
                    <a:pt x="885" y="415"/>
                  </a:cubicBezTo>
                  <a:cubicBezTo>
                    <a:pt x="928" y="415"/>
                    <a:pt x="971" y="420"/>
                    <a:pt x="1012" y="430"/>
                  </a:cubicBezTo>
                  <a:cubicBezTo>
                    <a:pt x="1008" y="441"/>
                    <a:pt x="1005" y="453"/>
                    <a:pt x="1002" y="465"/>
                  </a:cubicBezTo>
                  <a:close/>
                  <a:moveTo>
                    <a:pt x="1162" y="535"/>
                  </a:moveTo>
                  <a:cubicBezTo>
                    <a:pt x="1166" y="523"/>
                    <a:pt x="1169" y="511"/>
                    <a:pt x="1173" y="499"/>
                  </a:cubicBezTo>
                  <a:cubicBezTo>
                    <a:pt x="1324" y="595"/>
                    <a:pt x="1421" y="764"/>
                    <a:pt x="1421" y="950"/>
                  </a:cubicBezTo>
                  <a:cubicBezTo>
                    <a:pt x="1421" y="959"/>
                    <a:pt x="1420" y="968"/>
                    <a:pt x="1420" y="978"/>
                  </a:cubicBezTo>
                  <a:cubicBezTo>
                    <a:pt x="1406" y="973"/>
                    <a:pt x="1394" y="969"/>
                    <a:pt x="1384" y="964"/>
                  </a:cubicBezTo>
                  <a:cubicBezTo>
                    <a:pt x="1384" y="960"/>
                    <a:pt x="1384" y="955"/>
                    <a:pt x="1384" y="950"/>
                  </a:cubicBezTo>
                  <a:cubicBezTo>
                    <a:pt x="1384" y="777"/>
                    <a:pt x="1296" y="625"/>
                    <a:pt x="1162" y="5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Tree>
    <p:extLst>
      <p:ext uri="{BB962C8B-B14F-4D97-AF65-F5344CB8AC3E}">
        <p14:creationId xmlns:p14="http://schemas.microsoft.com/office/powerpoint/2010/main" val="1659537397"/>
      </p:ext>
    </p:extLst>
  </p:cSld>
  <p:clrMapOvr>
    <a:masterClrMapping/>
  </p:clrMapOvr>
  <p:extLst>
    <p:ext uri="{DCECCB84-F9BA-43D5-87BE-67443E8EF086}">
      <p15:sldGuideLst xmlns:p15="http://schemas.microsoft.com/office/powerpoint/2012/main">
        <p15:guide id="1" pos="674">
          <p15:clr>
            <a:srgbClr val="FBAE40"/>
          </p15:clr>
        </p15:guide>
        <p15:guide id="2" orient="horz" pos="1350">
          <p15:clr>
            <a:srgbClr val="FBAE40"/>
          </p15:clr>
        </p15:guide>
        <p15:guide id="3" orient="horz" pos="201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6_Cover_approved_question_wid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6601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00"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bwMode="invGray">
          <a:xfrm>
            <a:off x="622940"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8" name="Title 1"/>
          <p:cNvSpPr>
            <a:spLocks noGrp="1"/>
          </p:cNvSpPr>
          <p:nvPr userDrawn="1">
            <p:ph type="ctrTitle" hasCustomPrompt="1"/>
          </p:nvPr>
        </p:nvSpPr>
        <p:spPr>
          <a:xfrm>
            <a:off x="1069705" y="2158329"/>
            <a:ext cx="4808220"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19" name="Subtitle 2"/>
          <p:cNvSpPr>
            <a:spLocks noGrp="1"/>
          </p:cNvSpPr>
          <p:nvPr userDrawn="1">
            <p:ph type="subTitle" idx="1" hasCustomPrompt="1"/>
          </p:nvPr>
        </p:nvSpPr>
        <p:spPr>
          <a:xfrm>
            <a:off x="1069897"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614191"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US" noProof="0" dirty="0"/>
          </a:p>
        </p:txBody>
      </p:sp>
      <p:sp>
        <p:nvSpPr>
          <p:cNvPr id="4" name="Freeform: Shape 3">
            <a:extLst>
              <a:ext uri="{FF2B5EF4-FFF2-40B4-BE49-F238E27FC236}">
                <a16:creationId xmlns:a16="http://schemas.microsoft.com/office/drawing/2014/main" id="{15324C54-B75E-4AC0-90C2-FA558C7716F7}"/>
              </a:ext>
            </a:extLst>
          </p:cNvPr>
          <p:cNvSpPr/>
          <p:nvPr/>
        </p:nvSpPr>
        <p:spPr>
          <a:xfrm>
            <a:off x="614191"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sp>
        <p:nvSpPr>
          <p:cNvPr id="5" name="Freeform: Shape 4">
            <a:extLst>
              <a:ext uri="{FF2B5EF4-FFF2-40B4-BE49-F238E27FC236}">
                <a16:creationId xmlns:a16="http://schemas.microsoft.com/office/drawing/2014/main" id="{CAA95478-C099-485F-AD95-A617656C6C7C}"/>
              </a:ext>
            </a:extLst>
          </p:cNvPr>
          <p:cNvSpPr/>
          <p:nvPr/>
        </p:nvSpPr>
        <p:spPr>
          <a:xfrm>
            <a:off x="899522"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184735"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0"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7"/>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pic>
        <p:nvPicPr>
          <p:cNvPr id="79" name="Grafik 7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701887" y="440057"/>
            <a:ext cx="1880290" cy="961200"/>
          </a:xfrm>
          <a:prstGeom prst="rect">
            <a:avLst/>
          </a:prstGeom>
        </p:spPr>
      </p:pic>
    </p:spTree>
    <p:extLst>
      <p:ext uri="{BB962C8B-B14F-4D97-AF65-F5344CB8AC3E}">
        <p14:creationId xmlns:p14="http://schemas.microsoft.com/office/powerpoint/2010/main" val="1950292438"/>
      </p:ext>
    </p:extLst>
  </p:cSld>
  <p:clrMapOvr>
    <a:masterClrMapping/>
  </p:clrMapOvr>
  <p:extLst>
    <p:ext uri="{DCECCB84-F9BA-43D5-87BE-67443E8EF086}">
      <p15:sldGuideLst xmlns:p15="http://schemas.microsoft.com/office/powerpoint/2012/main">
        <p15:guide id="1" pos="674">
          <p15:clr>
            <a:srgbClr val="FBAE40"/>
          </p15:clr>
        </p15:guide>
        <p15:guide id="2" orient="horz" pos="1350">
          <p15:clr>
            <a:srgbClr val="FBAE40"/>
          </p15:clr>
        </p15:guide>
        <p15:guide id="3" orient="horz" pos="201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7_Cover_with_author_Neu">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Title 1"/>
          <p:cNvSpPr>
            <a:spLocks noGrp="1"/>
          </p:cNvSpPr>
          <p:nvPr>
            <p:ph type="ctrTitle" hasCustomPrompt="1"/>
          </p:nvPr>
        </p:nvSpPr>
        <p:spPr>
          <a:xfrm>
            <a:off x="900329"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12" name="Subtitle 2"/>
          <p:cNvSpPr>
            <a:spLocks noGrp="1"/>
          </p:cNvSpPr>
          <p:nvPr>
            <p:ph type="subTitle" idx="1" hasCustomPrompt="1"/>
          </p:nvPr>
        </p:nvSpPr>
        <p:spPr>
          <a:xfrm>
            <a:off x="900329" y="3046158"/>
            <a:ext cx="4328932" cy="1046323"/>
          </a:xfrm>
          <a:prstGeom prst="rect">
            <a:avLst/>
          </a:prstGeo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4865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615384" y="5605200"/>
            <a:ext cx="1045073" cy="197581"/>
          </a:xfrm>
          <a:prstGeom prst="rect">
            <a:avLst/>
          </a:prstGeom>
          <a:noFill/>
        </p:spPr>
        <p:txBody>
          <a:bodyPr wrap="square" lIns="0" tIns="0" rIns="0" bIns="0" rtlCol="0" anchor="ctr" anchorCtr="0">
            <a:noAutofit/>
          </a:bodyPr>
          <a:lstStyle/>
          <a:p>
            <a:r>
              <a:rPr lang="en-US" sz="1200" noProof="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486584" y="6019189"/>
            <a:ext cx="3089275" cy="180000"/>
          </a:xfrm>
          <a:prstGeom prst="rect">
            <a:avLst/>
          </a:prstGeom>
        </p:spPr>
        <p:txBody>
          <a:bodyPr/>
          <a:lstStyle>
            <a:lvl1pPr marL="0" indent="0">
              <a:buNone/>
              <a:defRPr sz="1200">
                <a:solidFill>
                  <a:schemeClr val="tx2"/>
                </a:solidFill>
              </a:defRPr>
            </a:lvl1pPr>
          </a:lstStyle>
          <a:p>
            <a:pPr lvl="0"/>
            <a:r>
              <a:rPr lang="en-US" noProof="0" dirty="0"/>
              <a:t>Name Surname</a:t>
            </a:r>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486584" y="6216807"/>
            <a:ext cx="3089275" cy="180000"/>
          </a:xfrm>
          <a:prstGeom prst="rect">
            <a:avLst/>
          </a:prstGeom>
        </p:spPr>
        <p:txBody>
          <a:bodyPr/>
          <a:lstStyle>
            <a:lvl1pPr marL="0" indent="0">
              <a:buNone/>
              <a:defRPr sz="1200">
                <a:solidFill>
                  <a:schemeClr val="bg1"/>
                </a:solidFill>
              </a:defRPr>
            </a:lvl1pPr>
          </a:lstStyle>
          <a:p>
            <a:pPr lvl="0"/>
            <a:r>
              <a:rPr lang="en-US" noProof="0" dirty="0"/>
              <a:t>Job Title</a:t>
            </a:r>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hasCustomPrompt="1"/>
          </p:nvPr>
        </p:nvSpPr>
        <p:spPr>
          <a:xfrm>
            <a:off x="615383" y="5914642"/>
            <a:ext cx="576000" cy="576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01887" y="440057"/>
            <a:ext cx="1880290" cy="961200"/>
          </a:xfrm>
          <a:prstGeom prst="rect">
            <a:avLst/>
          </a:prstGeom>
        </p:spPr>
      </p:pic>
    </p:spTree>
    <p:extLst>
      <p:ext uri="{BB962C8B-B14F-4D97-AF65-F5344CB8AC3E}">
        <p14:creationId xmlns:p14="http://schemas.microsoft.com/office/powerpoint/2010/main" val="414081976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8_Final_legal_text">
    <p:spTree>
      <p:nvGrpSpPr>
        <p:cNvPr id="1" name=""/>
        <p:cNvGrpSpPr/>
        <p:nvPr/>
      </p:nvGrpSpPr>
      <p:grpSpPr>
        <a:xfrm>
          <a:off x="0" y="0"/>
          <a:ext cx="0" cy="0"/>
          <a:chOff x="0" y="0"/>
          <a:chExt cx="0" cy="0"/>
        </a:xfrm>
      </p:grpSpPr>
      <p:sp>
        <p:nvSpPr>
          <p:cNvPr id="3" name="Textplatzhalter 2"/>
          <p:cNvSpPr>
            <a:spLocks noGrp="1"/>
          </p:cNvSpPr>
          <p:nvPr>
            <p:ph type="body" sz="quarter" idx="11" hasCustomPrompt="1"/>
          </p:nvPr>
        </p:nvSpPr>
        <p:spPr>
          <a:xfrm>
            <a:off x="628566" y="292413"/>
            <a:ext cx="3142800" cy="5209200"/>
          </a:xfrm>
          <a:prstGeom prst="rect">
            <a:avLst/>
          </a:prstGeom>
        </p:spPr>
        <p:txBody>
          <a:bodyPr/>
          <a:lstStyle>
            <a:lvl1pPr marL="0" indent="0">
              <a:buFontTx/>
              <a:buNone/>
              <a:defRPr sz="1000"/>
            </a:lvl1pPr>
          </a:lstStyle>
          <a:p>
            <a:pPr lvl="0"/>
            <a:r>
              <a:rPr lang="en-US" dirty="0"/>
              <a:t>EY  |  Assurance | Tax | Transactions | Advisory </a:t>
            </a:r>
            <a:br>
              <a:rPr lang="en-US" dirty="0"/>
            </a:br>
            <a:br>
              <a:rPr lang="en-US" dirty="0"/>
            </a:br>
            <a:r>
              <a:rPr lang="en-US" dirty="0"/>
              <a:t>Refer to The Branding Zone for the latest boilerplate language. </a:t>
            </a:r>
          </a:p>
          <a:p>
            <a:pPr lvl="0"/>
            <a:endParaRPr lang="en-US" dirty="0"/>
          </a:p>
        </p:txBody>
      </p:sp>
    </p:spTree>
    <p:extLst>
      <p:ext uri="{BB962C8B-B14F-4D97-AF65-F5344CB8AC3E}">
        <p14:creationId xmlns:p14="http://schemas.microsoft.com/office/powerpoint/2010/main" val="3765548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Standard_pictur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8199120" y="0"/>
            <a:ext cx="3999231"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609918" y="294200"/>
            <a:ext cx="7300800" cy="590400"/>
          </a:xfrm>
        </p:spPr>
        <p:txBody>
          <a:bodyPr/>
          <a:lstStyle>
            <a:lvl1pPr>
              <a:defRPr sz="2400">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918" y="1137921"/>
            <a:ext cx="7299642" cy="873760"/>
          </a:xfrm>
          <a:prstGeom prst="rect">
            <a:avLst/>
          </a:prstGeom>
        </p:spPr>
        <p:txBody>
          <a:bodyPr>
            <a:noAutofit/>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781424"/>
          </a:xfrm>
          <a:prstGeom prst="rect">
            <a:avLst/>
          </a:prstGeom>
        </p:spPr>
        <p:txBody>
          <a:bodyPr numCol="1">
            <a:noAutofit/>
          </a:bodyPr>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a:prstGeom prst="rect">
            <a:avLst/>
          </a:prstGeom>
        </p:spPr>
        <p:txBody>
          <a:bodyPr numCol="1">
            <a:noAutofit/>
          </a:bodyPr>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856104"/>
          </a:xfrm>
          <a:prstGeom prst="rect">
            <a:avLst/>
          </a:prstGeom>
        </p:spPr>
        <p:txBody>
          <a:bodyPr numCol="1">
            <a:noAutofit/>
          </a:bodyPr>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Quote</a:t>
            </a: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2F83285F-A85E-48D5-A1E9-9EA175F117DB}" type="datetime3">
              <a:rPr lang="en-US" noProof="0" smtClean="0"/>
              <a:t>14 September 2022</a:t>
            </a:fld>
            <a:endParaRPr lang="en-US" noProof="0"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Nr.›</a:t>
            </a:fld>
            <a:endParaRPr lang="en-US" noProof="0" dirty="0"/>
          </a:p>
        </p:txBody>
      </p:sp>
      <p:sp>
        <p:nvSpPr>
          <p:cNvPr id="1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2894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6391287"/>
      </p:ext>
    </p:extLst>
  </p:cSld>
  <p:clrMapOvr>
    <a:masterClrMapping/>
  </p:clrMapOvr>
  <p:extLst>
    <p:ext uri="{DCECCB84-F9BA-43D5-87BE-67443E8EF086}">
      <p15:sldGuideLst xmlns:p15="http://schemas.microsoft.com/office/powerpoint/2012/main">
        <p15:guide id="1" pos="5157" userDrawn="1">
          <p15:clr>
            <a:srgbClr val="FBAE40"/>
          </p15:clr>
        </p15:guide>
        <p15:guide id="2" orient="horz" pos="1457" userDrawn="1">
          <p15:clr>
            <a:srgbClr val="FBAE40"/>
          </p15:clr>
        </p15:guide>
        <p15:guide id="3" pos="4976" userDrawn="1">
          <p15:clr>
            <a:srgbClr val="FBAE40"/>
          </p15:clr>
        </p15:guide>
        <p15:guide id="4" pos="2731" userDrawn="1">
          <p15:clr>
            <a:srgbClr val="FBAE40"/>
          </p15:clr>
        </p15:guide>
        <p15:guide id="5" pos="26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Standard_picture_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0" y="0"/>
            <a:ext cx="2384460"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2695294" y="294200"/>
            <a:ext cx="8892000" cy="590400"/>
          </a:xfrm>
        </p:spPr>
        <p:txBody>
          <a:bodyPr/>
          <a:lstStyle>
            <a:lvl1pPr>
              <a:defRPr sz="2400">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2695293" y="1137921"/>
            <a:ext cx="2742882" cy="4954904"/>
          </a:xfrm>
          <a:prstGeom prst="rect">
            <a:avLst/>
          </a:prstGeom>
        </p:spPr>
        <p:txBody>
          <a:bodyPr>
            <a:noAutofit/>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4954904"/>
          </a:xfrm>
          <a:prstGeom prst="rect">
            <a:avLst/>
          </a:prstGeom>
        </p:spPr>
        <p:txBody>
          <a:bodyPr numCol="1">
            <a:noAutofit/>
          </a:bodyPr>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a:prstGeom prst="rect">
            <a:avLst/>
          </a:prstGeom>
        </p:spPr>
        <p:txBody>
          <a:bodyPr numCol="1">
            <a:noAutofit/>
          </a:bodyPr>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F80BBD3C-0F20-4269-B5A9-643E9AB4A672}" type="datetime3">
              <a:rPr lang="en-US" noProof="0" smtClean="0"/>
              <a:t>14 September 2022</a:t>
            </a:fld>
            <a:endParaRPr lang="en-US" noProof="0"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353138134"/>
      </p:ext>
    </p:extLst>
  </p:cSld>
  <p:clrMapOvr>
    <a:masterClrMapping/>
  </p:clrMapOvr>
  <p:extLst>
    <p:ext uri="{DCECCB84-F9BA-43D5-87BE-67443E8EF086}">
      <p15:sldGuideLst xmlns:p15="http://schemas.microsoft.com/office/powerpoint/2012/main">
        <p15:guide id="1" pos="1687" userDrawn="1">
          <p15:clr>
            <a:srgbClr val="FBAE40"/>
          </p15:clr>
        </p15:guide>
        <p15:guide id="3" pos="3434" userDrawn="1">
          <p15:clr>
            <a:srgbClr val="FBAE40"/>
          </p15:clr>
        </p15:guide>
        <p15:guide id="4" pos="3593" userDrawn="1">
          <p15:clr>
            <a:srgbClr val="FBAE40"/>
          </p15:clr>
        </p15:guide>
        <p15:guide id="6" pos="5566" userDrawn="1">
          <p15:clr>
            <a:srgbClr val="FBAE40"/>
          </p15:clr>
        </p15:guide>
        <p15:guide id="7" pos="53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Quote_left">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1200" noProof="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hasCustomPrompt="1"/>
          </p:nvPr>
        </p:nvSpPr>
        <p:spPr>
          <a:xfrm>
            <a:off x="609600" y="2526765"/>
            <a:ext cx="5292000" cy="1800000"/>
          </a:xfrm>
          <a:prstGeom prst="rect">
            <a:avLst/>
          </a:prstGeom>
        </p:spPr>
        <p:txBody>
          <a:bodyPr lIns="0" tIns="46800" rIns="90000" bIns="46800">
            <a:noAutofit/>
          </a:bodyPr>
          <a:lstStyle>
            <a:lvl1pPr marL="356616" indent="-356616">
              <a:spcBef>
                <a:spcPts val="0"/>
              </a:spcBef>
              <a:buNone/>
              <a:defRPr lang="en-US" sz="2800" dirty="0" smtClean="0">
                <a:latin typeface="Georgia" panose="02040502050405020303" pitchFamily="18" charset="0"/>
              </a:defRPr>
            </a:lvl1pPr>
          </a:lstStyle>
          <a:p>
            <a:pPr marL="356616" lvl="0" indent="-356616">
              <a:spcBef>
                <a:spcPts val="0"/>
              </a:spcBef>
            </a:pPr>
            <a:r>
              <a:rPr lang="en-US" noProof="0" dirty="0"/>
              <a:t>Click to edit Master title style</a:t>
            </a:r>
            <a:endParaRPr lang="de-DE" noProof="0" dirty="0"/>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609600" y="4632765"/>
            <a:ext cx="5292000" cy="316838"/>
          </a:xfrm>
          <a:prstGeom prst="rect">
            <a:avLst/>
          </a:prstGeom>
        </p:spPr>
        <p:txBody>
          <a:bodyPr lIns="0" tIns="46800" rIns="90000" bIns="4680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noProof="0"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609600" y="4971442"/>
            <a:ext cx="5292000" cy="316838"/>
          </a:xfrm>
          <a:prstGeom prst="rect">
            <a:avLst/>
          </a:prstGeom>
        </p:spPr>
        <p:txBody>
          <a:bodyPr lIns="0" tIns="46800" rIns="90000" bIns="4680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noProof="0"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Quote_centered">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hasCustomPrompt="1"/>
          </p:nvPr>
        </p:nvSpPr>
        <p:spPr>
          <a:xfrm>
            <a:off x="2282751" y="2060235"/>
            <a:ext cx="7632848" cy="3025522"/>
          </a:xfrm>
          <a:prstGeom prst="rect">
            <a:avLst/>
          </a:prstGeom>
        </p:spPr>
        <p:txBody>
          <a:bodyPr lIns="0" tIns="0" rIns="0" bIns="0">
            <a:noAutofit/>
          </a:bodyPr>
          <a:lstStyle>
            <a:lvl1pPr marL="356616" indent="-356616" algn="ctr">
              <a:spcBef>
                <a:spcPts val="0"/>
              </a:spcBef>
              <a:spcAft>
                <a:spcPts val="0"/>
              </a:spcAft>
              <a:buNone/>
              <a:defRPr lang="en-US" sz="2800" dirty="0" smtClean="0">
                <a:latin typeface="Georgia" panose="02040502050405020303" pitchFamily="18" charset="0"/>
              </a:defRPr>
            </a:lvl1pPr>
          </a:lstStyle>
          <a:p>
            <a:pPr marL="356616" lvl="0" indent="-356616" algn="ctr">
              <a:spcBef>
                <a:spcPts val="0"/>
              </a:spcBef>
            </a:pPr>
            <a:r>
              <a:rPr lang="en-US" noProof="0" dirty="0"/>
              <a:t>Click to edit Master title style</a:t>
            </a:r>
            <a:endParaRPr lang="de-DE" noProof="0" dirty="0"/>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282751" y="5445367"/>
            <a:ext cx="7632848" cy="316838"/>
          </a:xfrm>
          <a:prstGeom prst="rect">
            <a:avLst/>
          </a:prstGeom>
        </p:spPr>
        <p:txBody>
          <a:bodyPr lIns="0" tIns="0" rIns="0" bIns="0" anchor="ctr">
            <a:noAutofit/>
          </a:bodyPr>
          <a:lstStyle>
            <a:lvl1pPr marL="0" indent="0" algn="ctr">
              <a:spcAft>
                <a:spcPts val="0"/>
              </a:spcAft>
              <a:buNone/>
              <a:defRPr lang="en-US" sz="1600" dirty="0" smtClean="0">
                <a:solidFill>
                  <a:srgbClr val="FFE600"/>
                </a:solidFill>
                <a:latin typeface="+mn-lt"/>
              </a:defRPr>
            </a:lvl1pPr>
          </a:lstStyle>
          <a:p>
            <a:pPr marL="356616" lvl="0" indent="-356616" algn="ctr">
              <a:spcBef>
                <a:spcPts val="0"/>
              </a:spcBef>
              <a:spcAft>
                <a:spcPts val="600"/>
              </a:spcAft>
            </a:pPr>
            <a:r>
              <a:rPr lang="en-US" noProof="0"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282751" y="5780617"/>
            <a:ext cx="7632848" cy="316838"/>
          </a:xfrm>
          <a:prstGeom prst="rect">
            <a:avLst/>
          </a:prstGeom>
        </p:spPr>
        <p:txBody>
          <a:bodyPr vert="horz" lIns="0" tIns="0" rIns="0" bIns="0" rtlCol="0" anchor="ctr" anchorCtr="0">
            <a:noAutofit/>
          </a:bodyPr>
          <a:lstStyle>
            <a:lvl1pPr marL="0" indent="0" algn="ctr">
              <a:spcAft>
                <a:spcPts val="0"/>
              </a:spcAft>
              <a:buNone/>
              <a:defRPr lang="en-US" sz="1600" dirty="0" smtClean="0">
                <a:latin typeface="+mn-lt"/>
              </a:defRPr>
            </a:lvl1pPr>
          </a:lstStyle>
          <a:p>
            <a:pPr marL="356616" lvl="0" indent="-356616" algn="ctr">
              <a:spcBef>
                <a:spcPts val="0"/>
              </a:spcBef>
              <a:spcAft>
                <a:spcPts val="600"/>
              </a:spcAft>
            </a:pPr>
            <a:r>
              <a:rPr lang="en-US" noProof="0"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200" noProof="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Key_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A1DA559F-DADA-431C-A6FD-3B97C6CEA495}" type="datetime3">
              <a:rPr lang="en-US" noProof="0" smtClean="0"/>
              <a:t>14 September 2022</a:t>
            </a:fld>
            <a:endParaRPr lang="en-US" noProof="0"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noProof="0"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Nr.›</a:t>
            </a:fld>
            <a:endParaRPr lang="en-US" noProof="0" dirty="0"/>
          </a:p>
        </p:txBody>
      </p:sp>
      <p:sp>
        <p:nvSpPr>
          <p:cNvPr id="13" name="Textplatzhalter 12"/>
          <p:cNvSpPr>
            <a:spLocks noGrp="1"/>
          </p:cNvSpPr>
          <p:nvPr>
            <p:ph type="body" sz="quarter" idx="15" hasCustomPrompt="1"/>
          </p:nvPr>
        </p:nvSpPr>
        <p:spPr>
          <a:xfrm>
            <a:off x="1257301" y="2469060"/>
            <a:ext cx="9683750" cy="784225"/>
          </a:xfrm>
          <a:prstGeom prst="rect">
            <a:avLst/>
          </a:prstGeom>
        </p:spPr>
        <p:txBody>
          <a:bodyPr anchor="b">
            <a:noAutofit/>
          </a:bodyPr>
          <a:lstStyle>
            <a:lvl1pPr marL="0" indent="0" algn="ctr">
              <a:spcBef>
                <a:spcPts val="0"/>
              </a:spcBef>
              <a:buNone/>
              <a:defRPr sz="3200"/>
            </a:lvl1pPr>
            <a:lvl2pPr>
              <a:defRPr sz="3200"/>
            </a:lvl2pPr>
            <a:lvl3pPr>
              <a:defRPr sz="3200"/>
            </a:lvl3pPr>
            <a:lvl4pPr>
              <a:defRPr sz="3200"/>
            </a:lvl4pPr>
            <a:lvl5pPr>
              <a:defRPr sz="3200"/>
            </a:lvl5pPr>
          </a:lstStyle>
          <a:p>
            <a:pPr lvl="0"/>
            <a:r>
              <a:rPr lang="en-US" noProof="0" dirty="0"/>
              <a:t>Statement 32pt, EY Interstate Light</a:t>
            </a:r>
          </a:p>
        </p:txBody>
      </p:sp>
      <p:sp>
        <p:nvSpPr>
          <p:cNvPr id="15" name="Textplatzhalter 14"/>
          <p:cNvSpPr>
            <a:spLocks noGrp="1"/>
          </p:cNvSpPr>
          <p:nvPr>
            <p:ph type="body" sz="quarter" idx="16" hasCustomPrompt="1"/>
          </p:nvPr>
        </p:nvSpPr>
        <p:spPr>
          <a:xfrm>
            <a:off x="3111500" y="3605394"/>
            <a:ext cx="5975350" cy="1411287"/>
          </a:xfrm>
          <a:prstGeom prst="rect">
            <a:avLst/>
          </a:prstGeom>
        </p:spPr>
        <p:txBody>
          <a:bodyPr>
            <a:noAutofit/>
          </a:bodyPr>
          <a:lstStyle>
            <a:lvl1pPr marL="0" indent="0" algn="ctr">
              <a:spcBef>
                <a:spcPts val="0"/>
              </a:spcBef>
              <a:buFontTx/>
              <a:buNone/>
              <a:defRPr sz="1800"/>
            </a:lvl1pPr>
            <a:lvl2pPr marL="357187" indent="0" algn="ctr">
              <a:buFontTx/>
              <a:buNone/>
              <a:defRPr/>
            </a:lvl2pPr>
            <a:lvl3pPr marL="685800" indent="0" algn="ctr">
              <a:buFontTx/>
              <a:buNone/>
              <a:defRPr/>
            </a:lvl3pPr>
            <a:lvl4pPr marL="973138" indent="0" algn="ctr">
              <a:buFontTx/>
              <a:buNone/>
              <a:defRPr/>
            </a:lvl4pPr>
            <a:lvl5pPr marL="1426464" indent="0" algn="ctr">
              <a:buFontTx/>
              <a:buNone/>
              <a:defRPr/>
            </a:lvl5pPr>
          </a:lstStyle>
          <a:p>
            <a:pPr lvl="0"/>
            <a:r>
              <a:rPr lang="en-US" noProof="0" dirty="0"/>
              <a:t>Description 18pt, </a:t>
            </a:r>
            <a:r>
              <a:rPr lang="en-US" noProof="0" dirty="0" err="1"/>
              <a:t>EYInterstate</a:t>
            </a:r>
            <a:r>
              <a:rPr lang="en-US" noProof="0" dirty="0"/>
              <a:t> Light ipsum dolor sit </a:t>
            </a:r>
            <a:br>
              <a:rPr lang="en-US" noProof="0" dirty="0"/>
            </a:br>
            <a:r>
              <a:rPr lang="en-US" noProof="0" dirty="0" err="1"/>
              <a:t>amet</a:t>
            </a:r>
            <a:r>
              <a:rPr lang="en-US" noProof="0" dirty="0"/>
              <a:t>, </a:t>
            </a:r>
            <a:r>
              <a:rPr lang="en-US" noProof="0" dirty="0" err="1"/>
              <a:t>quas</a:t>
            </a:r>
            <a:r>
              <a:rPr lang="en-US" noProof="0" dirty="0"/>
              <a:t> </a:t>
            </a:r>
            <a:r>
              <a:rPr lang="en-US" noProof="0" dirty="0" err="1"/>
              <a:t>nostru</a:t>
            </a:r>
            <a:r>
              <a:rPr lang="en-US" noProof="0" dirty="0"/>
              <a:t> </a:t>
            </a:r>
            <a:r>
              <a:rPr lang="en-US" noProof="0" dirty="0" err="1"/>
              <a:t>xgfc</a:t>
            </a:r>
            <a:r>
              <a:rPr lang="en-US" noProof="0" dirty="0"/>
              <a:t> </a:t>
            </a:r>
            <a:r>
              <a:rPr lang="en-US" noProof="0" dirty="0" err="1"/>
              <a:t>laoreet</a:t>
            </a:r>
            <a:r>
              <a:rPr lang="en-US" noProof="0" dirty="0"/>
              <a:t> per.</a:t>
            </a:r>
          </a:p>
        </p:txBody>
      </p:sp>
    </p:spTree>
    <p:extLst>
      <p:ext uri="{BB962C8B-B14F-4D97-AF65-F5344CB8AC3E}">
        <p14:creationId xmlns:p14="http://schemas.microsoft.com/office/powerpoint/2010/main" val="1794348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9_Two_columns_no_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88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sz="half" idx="1" hasCustomPrompt="1"/>
          </p:nvPr>
        </p:nvSpPr>
        <p:spPr>
          <a:xfrm>
            <a:off x="609918" y="1137919"/>
            <a:ext cx="5387605" cy="495490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4" name="Content Placeholder 3"/>
          <p:cNvSpPr>
            <a:spLocks noGrp="1"/>
          </p:cNvSpPr>
          <p:nvPr>
            <p:ph sz="half" idx="2" hasCustomPrompt="1"/>
          </p:nvPr>
        </p:nvSpPr>
        <p:spPr>
          <a:xfrm>
            <a:off x="6200828" y="1137919"/>
            <a:ext cx="5387605" cy="495490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flipV="1">
            <a:off x="609918" y="885080"/>
            <a:ext cx="5273233" cy="2267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988B4BAF-3AE0-44AC-9C71-C47D9E4DFFEC}" type="datetime3">
              <a:rPr lang="en-US" noProof="0" smtClean="0"/>
              <a:t>14 September 2022</a:t>
            </a:fld>
            <a:endParaRPr lang="en-US" noProof="0"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3391415240"/>
      </p:ext>
    </p:extLst>
  </p:cSld>
  <p:clrMapOvr>
    <a:masterClrMapping/>
  </p:clrMapOvr>
  <p:extLst>
    <p:ext uri="{DCECCB84-F9BA-43D5-87BE-67443E8EF086}">
      <p15:sldGuideLst xmlns:p15="http://schemas.microsoft.com/office/powerpoint/2012/main">
        <p15:guide id="1" pos="3774" userDrawn="1">
          <p15:clr>
            <a:srgbClr val="FBAE40"/>
          </p15:clr>
        </p15:guide>
        <p15:guide id="2" pos="391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42CAA955-C688-4D17-A718-E12620276EB6}" type="datetime3">
              <a:rPr lang="en-US" noProof="0" smtClean="0"/>
              <a:t>14 September 2022</a:t>
            </a:fld>
            <a:endParaRPr lang="en-US" noProof="0"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noProof="0"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Nr.›</a:t>
            </a:fld>
            <a:endParaRPr lang="en-US" noProof="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999" r:id="rId1"/>
    <p:sldLayoutId id="2147483871" r:id="rId2"/>
    <p:sldLayoutId id="2147483828" r:id="rId3"/>
    <p:sldLayoutId id="2147483873" r:id="rId4"/>
    <p:sldLayoutId id="2147483872" r:id="rId5"/>
    <p:sldLayoutId id="2147483921" r:id="rId6"/>
    <p:sldLayoutId id="2147483923" r:id="rId7"/>
    <p:sldLayoutId id="2147483834" r:id="rId8"/>
    <p:sldLayoutId id="2147483832" r:id="rId9"/>
    <p:sldLayoutId id="2147483833" r:id="rId10"/>
    <p:sldLayoutId id="2147484000" r:id="rId11"/>
    <p:sldLayoutId id="2147483840" r:id="rId12"/>
    <p:sldLayoutId id="2147484001" r:id="rId13"/>
    <p:sldLayoutId id="2147483874" r:id="rId14"/>
    <p:sldLayoutId id="2147483948" r:id="rId15"/>
    <p:sldLayoutId id="2147483979" r:id="rId16"/>
    <p:sldLayoutId id="2147483949" r:id="rId17"/>
    <p:sldLayoutId id="2147483947" r:id="rId18"/>
    <p:sldLayoutId id="2147483926" r:id="rId19"/>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sp>
        <p:nvSpPr>
          <p:cNvPr id="4" name="Textplatzhalter 3"/>
          <p:cNvSpPr>
            <a:spLocks noGrp="1"/>
          </p:cNvSpPr>
          <p:nvPr>
            <p:ph type="body" idx="1"/>
          </p:nvPr>
        </p:nvSpPr>
        <p:spPr>
          <a:xfrm>
            <a:off x="608400" y="1137600"/>
            <a:ext cx="10981938" cy="4946400"/>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noProof="0" dirty="0"/>
              <a:t>Click to edit Master title style</a:t>
            </a:r>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lIns="0" tIns="0" rIns="0" bIns="0" anchor="ctr"/>
          <a:lstStyle>
            <a:lvl1pPr marL="0" algn="l" defTabSz="914400"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fld id="{FF689614-5369-440F-8EAB-15876908D66D}" type="datetime3">
              <a:rPr lang="en-US" noProof="0" smtClean="0"/>
              <a:t>14 September 2022</a:t>
            </a:fld>
            <a:endParaRPr lang="en-US" noProof="0"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lIns="0" tIns="0" rIns="0" bIns="0" anchor="ctr"/>
          <a:lstStyle>
            <a:lvl1pPr marL="0" algn="l" defTabSz="914400"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r>
              <a:rPr lang="en-US" noProof="0" dirty="0"/>
              <a:t>Presentation title</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lIns="0" tIns="0" rIns="0" bIns="0" anchor="ctr"/>
          <a:lstStyle>
            <a:lvl1pPr marL="0" algn="l" defTabSz="914400" rtl="0" eaLnBrk="1" latinLnBrk="0" hangingPunct="1">
              <a:lnSpc>
                <a:spcPct val="100000"/>
              </a:lnSpc>
              <a:defRPr lang="en-GB"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Nr.›</a:t>
            </a:fld>
            <a:endParaRPr lang="en-US" noProof="0"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991"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4005" r:id="rId12"/>
    <p:sldLayoutId id="2147483992" r:id="rId13"/>
    <p:sldLayoutId id="2147483993" r:id="rId14"/>
    <p:sldLayoutId id="2147483994" r:id="rId15"/>
    <p:sldLayoutId id="2147483995" r:id="rId16"/>
    <p:sldLayoutId id="2147483996" r:id="rId17"/>
    <p:sldLayoutId id="2147483997" r:id="rId18"/>
    <p:sldLayoutId id="2147483998" r:id="rId19"/>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7301" userDrawn="1">
          <p15:clr>
            <a:srgbClr val="F26B43"/>
          </p15:clr>
        </p15:guide>
        <p15:guide id="5" pos="384" userDrawn="1">
          <p15:clr>
            <a:srgbClr val="F26B43"/>
          </p15:clr>
        </p15:guide>
        <p15:guide id="6" orient="horz" pos="187" userDrawn="1">
          <p15:clr>
            <a:srgbClr val="F26B43"/>
          </p15:clr>
        </p15:guide>
        <p15:guide id="7" orient="horz" pos="709" userDrawn="1">
          <p15:clr>
            <a:srgbClr val="F26B43"/>
          </p15:clr>
        </p15:guide>
        <p15:guide id="8" orient="horz" pos="3838" userDrawn="1">
          <p15:clr>
            <a:srgbClr val="F26B43"/>
          </p15:clr>
        </p15:guide>
        <p15:guide id="9"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www.de.ey.com/Karriere/FutureFemaleTalents"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626568" y="294200"/>
            <a:ext cx="5616624" cy="590880"/>
          </a:xfrm>
        </p:spPr>
        <p:txBody>
          <a:bodyPr/>
          <a:lstStyle/>
          <a:p>
            <a:r>
              <a:rPr lang="en-US" sz="3400" kern="100" spc="-20" dirty="0">
                <a:solidFill>
                  <a:srgbClr val="FFFFFF"/>
                </a:solidFill>
                <a:latin typeface="Hyperlink"/>
              </a:rPr>
              <a:t>Future Female Talents @ EY</a:t>
            </a:r>
            <a:endParaRPr lang="de-DE" sz="3400" dirty="0">
              <a:solidFill>
                <a:schemeClr val="tx2"/>
              </a:solidFill>
              <a:latin typeface="Hyperlink"/>
            </a:endParaRPr>
          </a:p>
        </p:txBody>
      </p:sp>
      <p:sp>
        <p:nvSpPr>
          <p:cNvPr id="13" name="Rectangle 12">
            <a:extLst>
              <a:ext uri="{FF2B5EF4-FFF2-40B4-BE49-F238E27FC236}">
                <a16:creationId xmlns:a16="http://schemas.microsoft.com/office/drawing/2014/main" id="{8D477DEE-A89C-4AE2-8E4C-B23FF28BF871}"/>
              </a:ext>
            </a:extLst>
          </p:cNvPr>
          <p:cNvSpPr/>
          <p:nvPr/>
        </p:nvSpPr>
        <p:spPr>
          <a:xfrm>
            <a:off x="387183" y="1400364"/>
            <a:ext cx="6095394" cy="3822585"/>
          </a:xfrm>
          <a:prstGeom prst="rect">
            <a:avLst/>
          </a:prstGeom>
          <a:noFill/>
        </p:spPr>
        <p:txBody>
          <a:bodyPr wrap="square">
            <a:spAutoFit/>
          </a:bodyPr>
          <a:lstStyle/>
          <a:p>
            <a:r>
              <a:rPr lang="de-DE" sz="1600" kern="0" dirty="0">
                <a:solidFill>
                  <a:schemeClr val="bg1"/>
                </a:solidFill>
                <a:latin typeface="Hyperlink"/>
              </a:rPr>
              <a:t>Wie finde ich die Karriere, die am besten zu mir passt? Was sind meine Stärken, was genau will ich und wie treibe ich das voran? Wir laden dich zu fünf interaktiven Online-Sessions ein, die dir helfen deinen ganz persönliche Karriereweg einzuschlagen. Abgerundet werden die virtuellen Trainings mit 24 Stunden geballter Frauenpower bei unserem gemeinsamen Abschlussevent im Raum Frankfurt.</a:t>
            </a:r>
          </a:p>
          <a:p>
            <a:endParaRPr lang="de-DE" sz="1600" kern="0" dirty="0">
              <a:solidFill>
                <a:schemeClr val="bg1"/>
              </a:solidFill>
              <a:latin typeface="Hyperlink"/>
            </a:endParaRPr>
          </a:p>
          <a:p>
            <a:pPr marL="219075" indent="-219075" defTabSz="685434">
              <a:spcBef>
                <a:spcPct val="20000"/>
              </a:spcBef>
              <a:buClr>
                <a:srgbClr val="FFE600"/>
              </a:buClr>
              <a:buSzPct val="80000"/>
              <a:buFont typeface="Arial" pitchFamily="34" charset="0"/>
              <a:buChar char="►"/>
            </a:pPr>
            <a:r>
              <a:rPr lang="de-DE" sz="1600" kern="0" dirty="0">
                <a:solidFill>
                  <a:schemeClr val="bg1"/>
                </a:solidFill>
                <a:latin typeface="Hyperlink"/>
              </a:rPr>
              <a:t>Zeitraum: Online-Sessions 15. - 29.11. &amp;  Abschlussevent 01. - 02.12. </a:t>
            </a:r>
          </a:p>
          <a:p>
            <a:pPr marL="219075" indent="-219075" defTabSz="685434">
              <a:spcBef>
                <a:spcPct val="20000"/>
              </a:spcBef>
              <a:buClr>
                <a:srgbClr val="FFE600"/>
              </a:buClr>
              <a:buSzPct val="80000"/>
              <a:buFont typeface="Arial" pitchFamily="34" charset="0"/>
              <a:buChar char="►"/>
            </a:pPr>
            <a:r>
              <a:rPr lang="de-DE" sz="1600" kern="0" dirty="0">
                <a:solidFill>
                  <a:schemeClr val="bg1"/>
                </a:solidFill>
                <a:latin typeface="Hyperlink"/>
              </a:rPr>
              <a:t>Zielgruppe: Bachelor- und Masterstudentinnen, Absolventinnen und Young Professionals</a:t>
            </a:r>
          </a:p>
          <a:p>
            <a:pPr defTabSz="685434">
              <a:spcBef>
                <a:spcPct val="20000"/>
              </a:spcBef>
              <a:buClr>
                <a:srgbClr val="FFE600"/>
              </a:buClr>
              <a:buSzPct val="80000"/>
            </a:pPr>
            <a:endParaRPr lang="de-DE" sz="1600" kern="0" dirty="0">
              <a:solidFill>
                <a:schemeClr val="bg1"/>
              </a:solidFill>
              <a:latin typeface="Hyperlink"/>
            </a:endParaRPr>
          </a:p>
          <a:p>
            <a:pPr marL="219075" indent="-219075" defTabSz="685434">
              <a:spcBef>
                <a:spcPct val="20000"/>
              </a:spcBef>
              <a:buClr>
                <a:srgbClr val="FFE600"/>
              </a:buClr>
              <a:buSzPct val="80000"/>
              <a:buFont typeface="Arial" pitchFamily="34" charset="0"/>
              <a:buChar char="►"/>
            </a:pPr>
            <a:r>
              <a:rPr lang="de-DE" sz="1600" kern="0" dirty="0">
                <a:solidFill>
                  <a:schemeClr val="bg1"/>
                </a:solidFill>
                <a:latin typeface="Hyperlink"/>
              </a:rPr>
              <a:t>Bewirb dich jetzt online bis zum </a:t>
            </a:r>
            <a:r>
              <a:rPr lang="de-DE" sz="1600" b="1" kern="0" dirty="0">
                <a:solidFill>
                  <a:schemeClr val="bg1"/>
                </a:solidFill>
                <a:latin typeface="Hyperlink"/>
              </a:rPr>
              <a:t>02. November</a:t>
            </a:r>
            <a:r>
              <a:rPr lang="de-DE" sz="1600" kern="0" dirty="0">
                <a:solidFill>
                  <a:schemeClr val="bg1"/>
                </a:solidFill>
                <a:latin typeface="Hyperlink"/>
              </a:rPr>
              <a:t>. </a:t>
            </a:r>
            <a:br>
              <a:rPr lang="de-DE" sz="1600" b="1" kern="0" dirty="0">
                <a:solidFill>
                  <a:schemeClr val="bg1"/>
                </a:solidFill>
                <a:latin typeface="Hyperlink"/>
              </a:rPr>
            </a:br>
            <a:r>
              <a:rPr lang="de-DE" sz="1600" kern="0" dirty="0">
                <a:solidFill>
                  <a:schemeClr val="bg1"/>
                </a:solidFill>
                <a:latin typeface="Hyperlink"/>
              </a:rPr>
              <a:t>Weitere Informationen findest du unter folgendem Link: </a:t>
            </a:r>
            <a:r>
              <a:rPr lang="de-DE" sz="1800" dirty="0">
                <a:effectLst/>
                <a:latin typeface="Hyperlink"/>
                <a:ea typeface="Calibri" panose="020F0502020204030204" pitchFamily="34" charset="0"/>
                <a:hlinkClick r:id="rId3">
                  <a:extLst>
                    <a:ext uri="{A12FA001-AC4F-418D-AE19-62706E023703}">
                      <ahyp:hlinkClr xmlns:ahyp="http://schemas.microsoft.com/office/drawing/2018/hyperlinkcolor" val="tx"/>
                    </a:ext>
                  </a:extLst>
                </a:hlinkClick>
              </a:rPr>
              <a:t> </a:t>
            </a:r>
            <a:r>
              <a:rPr lang="de-DE" sz="1600" u="sng" dirty="0">
                <a:solidFill>
                  <a:srgbClr val="FFE600"/>
                </a:solidFill>
                <a:effectLst/>
                <a:latin typeface="Hyperlink"/>
                <a:ea typeface="Calibri" panose="020F0502020204030204" pitchFamily="34" charset="0"/>
                <a:hlinkClick r:id="rId3">
                  <a:extLst>
                    <a:ext uri="{A12FA001-AC4F-418D-AE19-62706E023703}">
                      <ahyp:hlinkClr xmlns:ahyp="http://schemas.microsoft.com/office/drawing/2018/hyperlinkcolor" val="tx"/>
                    </a:ext>
                  </a:extLst>
                </a:hlinkClick>
              </a:rPr>
              <a:t>www.de.ey.com/Karriere/FutureFemaleTalents</a:t>
            </a:r>
            <a:endParaRPr lang="de-DE" sz="1600" kern="0" dirty="0">
              <a:solidFill>
                <a:schemeClr val="bg1"/>
              </a:solidFill>
              <a:latin typeface="Hyperlink"/>
            </a:endParaRPr>
          </a:p>
        </p:txBody>
      </p:sp>
      <p:grpSp>
        <p:nvGrpSpPr>
          <p:cNvPr id="7" name="Group 4">
            <a:extLst>
              <a:ext uri="{FF2B5EF4-FFF2-40B4-BE49-F238E27FC236}">
                <a16:creationId xmlns:a16="http://schemas.microsoft.com/office/drawing/2014/main" id="{B59CAC21-EA4F-40F2-9442-7C8570030482}"/>
              </a:ext>
            </a:extLst>
          </p:cNvPr>
          <p:cNvGrpSpPr>
            <a:grpSpLocks noChangeAspect="1"/>
          </p:cNvGrpSpPr>
          <p:nvPr/>
        </p:nvGrpSpPr>
        <p:grpSpPr bwMode="invGray">
          <a:xfrm>
            <a:off x="11287125" y="6356350"/>
            <a:ext cx="303213" cy="311150"/>
            <a:chOff x="7110" y="4004"/>
            <a:chExt cx="191" cy="196"/>
          </a:xfrm>
        </p:grpSpPr>
        <p:sp>
          <p:nvSpPr>
            <p:cNvPr id="8" name="Freeform 5">
              <a:extLst>
                <a:ext uri="{FF2B5EF4-FFF2-40B4-BE49-F238E27FC236}">
                  <a16:creationId xmlns:a16="http://schemas.microsoft.com/office/drawing/2014/main" id="{D1D9F270-C451-4E5A-9F6B-12D0D36CF19C}"/>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0" name="Freeform 6">
              <a:extLst>
                <a:ext uri="{FF2B5EF4-FFF2-40B4-BE49-F238E27FC236}">
                  <a16:creationId xmlns:a16="http://schemas.microsoft.com/office/drawing/2014/main" id="{3EDFC7CA-4FB4-4519-A5AB-B9D24052ED6A}"/>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1" name="Freeform 7">
              <a:extLst>
                <a:ext uri="{FF2B5EF4-FFF2-40B4-BE49-F238E27FC236}">
                  <a16:creationId xmlns:a16="http://schemas.microsoft.com/office/drawing/2014/main" id="{365E14B6-C7A0-4145-832C-2701DC951585}"/>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pic>
        <p:nvPicPr>
          <p:cNvPr id="14" name="Grafik 13">
            <a:extLst>
              <a:ext uri="{FF2B5EF4-FFF2-40B4-BE49-F238E27FC236}">
                <a16:creationId xmlns:a16="http://schemas.microsoft.com/office/drawing/2014/main" id="{19A21E79-05AA-4F0D-A9FE-BD10DAED532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6365" r="29617"/>
          <a:stretch/>
        </p:blipFill>
        <p:spPr>
          <a:xfrm>
            <a:off x="6675888" y="0"/>
            <a:ext cx="5522462" cy="6822874"/>
          </a:xfrm>
          <a:prstGeom prst="rect">
            <a:avLst/>
          </a:prstGeom>
        </p:spPr>
      </p:pic>
      <p:pic>
        <p:nvPicPr>
          <p:cNvPr id="12" name="Picture 1">
            <a:extLst>
              <a:ext uri="{FF2B5EF4-FFF2-40B4-BE49-F238E27FC236}">
                <a16:creationId xmlns:a16="http://schemas.microsoft.com/office/drawing/2014/main" id="{219476C8-BF8A-40B4-BFE2-0B7A51D2CF00}"/>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17157" y="5738233"/>
            <a:ext cx="952500" cy="952500"/>
          </a:xfrm>
          <a:prstGeom prst="rect">
            <a:avLst/>
          </a:prstGeom>
          <a:noFill/>
          <a:ln>
            <a:noFill/>
          </a:ln>
        </p:spPr>
      </p:pic>
    </p:spTree>
    <p:extLst>
      <p:ext uri="{BB962C8B-B14F-4D97-AF65-F5344CB8AC3E}">
        <p14:creationId xmlns:p14="http://schemas.microsoft.com/office/powerpoint/2010/main" val="17739267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tcEcnfNSouTSeX4MLDx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YyQPOVuRPO_35GPVkMP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5fs8RPhQxecPYVHRzD3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iNm8YnSbG6XrVrL4En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syCt5VRQkSqUyfQ1gK4yg"/>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DE_presentation_16x9_2019.pptx" id="{498DFC7E-2F02-4EC1-809D-1FC35964144A}" vid="{AAFA28B3-465D-43C3-8BB7-A816AFE1522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2973867</vt:lpwstr>
  </property>
  <property fmtid="{D5CDD505-2E9C-101B-9397-08002B2CF9AE}" pid="4" name="OptimizationTime">
    <vt:lpwstr>20220923_1456</vt:lpwstr>
  </property>
</Properties>
</file>

<file path=docProps/app.xml><?xml version="1.0" encoding="utf-8"?>
<Properties xmlns="http://schemas.openxmlformats.org/officeDocument/2006/extended-properties" xmlns:vt="http://schemas.openxmlformats.org/officeDocument/2006/docPropsVTypes">
  <Template>EY_DE_presentation_16x9_2019</Template>
  <TotalTime>0</TotalTime>
  <Words>126</Words>
  <Application>Microsoft Office PowerPoint</Application>
  <PresentationFormat>Benutzerdefiniert</PresentationFormat>
  <Paragraphs>8</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1</vt:i4>
      </vt:variant>
    </vt:vector>
  </HeadingPairs>
  <TitlesOfParts>
    <vt:vector size="9" baseType="lpstr">
      <vt:lpstr>Arial</vt:lpstr>
      <vt:lpstr>EYInterstate</vt:lpstr>
      <vt:lpstr>EYInterstate Light</vt:lpstr>
      <vt:lpstr>Georgia</vt:lpstr>
      <vt:lpstr>Hyperlink</vt:lpstr>
      <vt:lpstr>EY dark background</vt:lpstr>
      <vt:lpstr>EY light background</vt:lpstr>
      <vt:lpstr>think-cell Folie</vt:lpstr>
      <vt:lpstr>Future Female Talents @ EY</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9-11-04T11:57:59Z</dcterms:created>
  <dcterms:modified xsi:type="dcterms:W3CDTF">2022-09-15T06:35:31Z</dcterms:modified>
  <cp:contentStatus/>
</cp:coreProperties>
</file>